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3" r:id="rId1"/>
    <p:sldMasterId id="2147483810" r:id="rId2"/>
  </p:sldMasterIdLst>
  <p:notesMasterIdLst>
    <p:notesMasterId r:id="rId24"/>
  </p:notesMasterIdLst>
  <p:handoutMasterIdLst>
    <p:handoutMasterId r:id="rId25"/>
  </p:handoutMasterIdLst>
  <p:sldIdLst>
    <p:sldId id="533" r:id="rId3"/>
    <p:sldId id="507" r:id="rId4"/>
    <p:sldId id="508" r:id="rId5"/>
    <p:sldId id="509" r:id="rId6"/>
    <p:sldId id="510" r:id="rId7"/>
    <p:sldId id="511" r:id="rId8"/>
    <p:sldId id="512" r:id="rId9"/>
    <p:sldId id="513" r:id="rId10"/>
    <p:sldId id="514" r:id="rId11"/>
    <p:sldId id="515" r:id="rId12"/>
    <p:sldId id="516" r:id="rId13"/>
    <p:sldId id="517" r:id="rId14"/>
    <p:sldId id="518" r:id="rId15"/>
    <p:sldId id="519" r:id="rId16"/>
    <p:sldId id="520" r:id="rId17"/>
    <p:sldId id="521" r:id="rId18"/>
    <p:sldId id="528" r:id="rId19"/>
    <p:sldId id="529" r:id="rId20"/>
    <p:sldId id="530" r:id="rId21"/>
    <p:sldId id="531" r:id="rId22"/>
    <p:sldId id="532" r:id="rId23"/>
  </p:sldIdLst>
  <p:sldSz cx="9144000" cy="5143500" type="screen16x9"/>
  <p:notesSz cx="10234613" cy="7099300"/>
  <p:custDataLst>
    <p:tags r:id="rId26"/>
  </p:custDataLst>
  <p:defaultTextStyle>
    <a:defPPr>
      <a:defRPr lang="bg-B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030" userDrawn="1">
          <p15:clr>
            <a:srgbClr val="A4A3A4"/>
          </p15:clr>
        </p15:guide>
        <p15:guide id="4" pos="1610" userDrawn="1">
          <p15:clr>
            <a:srgbClr val="A4A3A4"/>
          </p15:clr>
        </p15:guide>
        <p15:guide id="5" orient="horz" pos="1280">
          <p15:clr>
            <a:srgbClr val="A4A3A4"/>
          </p15:clr>
        </p15:guide>
        <p15:guide id="6" orient="horz" pos="443">
          <p15:clr>
            <a:srgbClr val="A4A3A4"/>
          </p15:clr>
        </p15:guide>
        <p15:guide id="7" orient="horz" pos="1842">
          <p15:clr>
            <a:srgbClr val="A4A3A4"/>
          </p15:clr>
        </p15:guide>
        <p15:guide id="8" orient="horz" pos="3019">
          <p15:clr>
            <a:srgbClr val="A4A3A4"/>
          </p15:clr>
        </p15:guide>
        <p15:guide id="9" orient="horz" pos="895">
          <p15:clr>
            <a:srgbClr val="A4A3A4"/>
          </p15:clr>
        </p15:guide>
        <p15:guide id="10" orient="horz" pos="2450">
          <p15:clr>
            <a:srgbClr val="A4A3A4"/>
          </p15:clr>
        </p15:guide>
        <p15:guide id="11" pos="5443">
          <p15:clr>
            <a:srgbClr val="A4A3A4"/>
          </p15:clr>
        </p15:guide>
        <p15:guide id="12" pos="319">
          <p15:clr>
            <a:srgbClr val="A4A3A4"/>
          </p15:clr>
        </p15:guide>
        <p15:guide id="13" pos="2816">
          <p15:clr>
            <a:srgbClr val="A4A3A4"/>
          </p15:clr>
        </p15:guide>
        <p15:guide id="14" pos="295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2D3D"/>
    <a:srgbClr val="DAD6CB"/>
    <a:srgbClr val="FFCC00"/>
    <a:srgbClr val="96825C"/>
    <a:srgbClr val="CA9C44"/>
    <a:srgbClr val="A51647"/>
    <a:srgbClr val="007179"/>
    <a:srgbClr val="FFE4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15" autoAdjust="0"/>
    <p:restoredTop sz="92230" autoAdjust="0"/>
  </p:normalViewPr>
  <p:slideViewPr>
    <p:cSldViewPr snapToGrid="0" snapToObjects="1" showGuides="1">
      <p:cViewPr>
        <p:scale>
          <a:sx n="125" d="100"/>
          <a:sy n="125" d="100"/>
        </p:scale>
        <p:origin x="408" y="306"/>
      </p:cViewPr>
      <p:guideLst>
        <p:guide orient="horz" pos="1620"/>
        <p:guide pos="2880"/>
        <p:guide orient="horz" pos="1030"/>
        <p:guide pos="1610"/>
        <p:guide orient="horz" pos="1280"/>
        <p:guide orient="horz" pos="443"/>
        <p:guide orient="horz" pos="1842"/>
        <p:guide orient="horz" pos="3019"/>
        <p:guide orient="horz" pos="895"/>
        <p:guide orient="horz" pos="2450"/>
        <p:guide pos="5443"/>
        <p:guide pos="319"/>
        <p:guide pos="2816"/>
        <p:guide pos="29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435304" cy="355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797022" y="0"/>
            <a:ext cx="4435304" cy="355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46717A-951C-2043-9A1D-21C2DAD795D8}" type="datetime1">
              <a:rPr lang="de-AT" smtClean="0"/>
              <a:t>27.04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743619"/>
            <a:ext cx="4435304" cy="355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797022" y="6743619"/>
            <a:ext cx="4435304" cy="355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7F2E13-92DA-E24F-9E0F-C82F8EF383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733146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435304" cy="355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797022" y="0"/>
            <a:ext cx="4435304" cy="355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DDAE9A-F2E8-E141-BB14-B043C4BD9600}" type="datetime1">
              <a:rPr lang="de-AT" smtClean="0"/>
              <a:t>27.04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87675" y="887413"/>
            <a:ext cx="4259263" cy="23955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023005" y="3416958"/>
            <a:ext cx="8188606" cy="279479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743619"/>
            <a:ext cx="4435304" cy="355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797022" y="6743619"/>
            <a:ext cx="4435304" cy="355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DAD029-F944-5445-8334-8E46EC00E05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290382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3175592" y="1419226"/>
            <a:ext cx="0" cy="336708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>
            <a:off x="5984316" y="1419226"/>
            <a:ext cx="0" cy="336575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Datumsplatzhalter 5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0"/>
          </p:nvPr>
        </p:nvSpPr>
        <p:spPr>
          <a:xfrm>
            <a:off x="503238" y="1419225"/>
            <a:ext cx="2535237" cy="3367088"/>
          </a:xfrm>
        </p:spPr>
        <p:txBody>
          <a:bodyPr/>
          <a:lstStyle>
            <a:lvl1pPr>
              <a:defRPr sz="13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1"/>
          </p:nvPr>
        </p:nvSpPr>
        <p:spPr>
          <a:xfrm>
            <a:off x="3317875" y="1419225"/>
            <a:ext cx="2519363" cy="3367088"/>
          </a:xfrm>
        </p:spPr>
        <p:txBody>
          <a:bodyPr/>
          <a:lstStyle>
            <a:lvl1pPr>
              <a:defRPr sz="13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2"/>
          </p:nvPr>
        </p:nvSpPr>
        <p:spPr>
          <a:xfrm>
            <a:off x="6146800" y="1419225"/>
            <a:ext cx="2493963" cy="3367088"/>
          </a:xfrm>
        </p:spPr>
        <p:txBody>
          <a:bodyPr/>
          <a:lstStyle>
            <a:lvl1pPr>
              <a:defRPr sz="13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503238" y="1419225"/>
            <a:ext cx="3960812" cy="336708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4679950" y="1419225"/>
            <a:ext cx="3960813" cy="3367088"/>
          </a:xfr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01256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503238" y="1419225"/>
            <a:ext cx="2052637" cy="1512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14" name="Bildplatzhalter 7"/>
          <p:cNvSpPr>
            <a:spLocks noGrp="1" noChangeAspect="1"/>
          </p:cNvSpPr>
          <p:nvPr>
            <p:ph type="pic" sz="quarter" idx="18"/>
          </p:nvPr>
        </p:nvSpPr>
        <p:spPr>
          <a:xfrm>
            <a:off x="503237" y="3274313"/>
            <a:ext cx="2052637" cy="1512000"/>
          </a:xfrm>
        </p:spPr>
        <p:txBody>
          <a:bodyPr/>
          <a:lstStyle/>
          <a:p>
            <a:endParaRPr lang="de-DE" dirty="0"/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503238" y="3113786"/>
            <a:ext cx="8137525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/>
          <p:cNvSpPr>
            <a:spLocks noGrp="1"/>
          </p:cNvSpPr>
          <p:nvPr>
            <p:ph type="body" sz="quarter" idx="20"/>
          </p:nvPr>
        </p:nvSpPr>
        <p:spPr>
          <a:xfrm>
            <a:off x="2700669" y="1419225"/>
            <a:ext cx="5940094" cy="1511300"/>
          </a:xfrm>
        </p:spPr>
        <p:txBody>
          <a:bodyPr anchor="ctr" anchorCtr="0"/>
          <a:lstStyle>
            <a:lvl1pPr>
              <a:defRPr sz="1400" baseline="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700669" y="3275013"/>
            <a:ext cx="5940094" cy="1511300"/>
          </a:xfrm>
        </p:spPr>
        <p:txBody>
          <a:bodyPr anchor="ctr" anchorCtr="0"/>
          <a:lstStyle>
            <a:lvl1pPr>
              <a:defRPr sz="1400" baseline="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und Text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03238" y="4476146"/>
            <a:ext cx="3960812" cy="215444"/>
          </a:xfrm>
        </p:spPr>
        <p:txBody>
          <a:bodyPr wrap="square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375"/>
              </a:spcBef>
              <a:buFontTx/>
              <a:buNone/>
              <a:defRPr sz="1400" baseline="0"/>
            </a:lvl1pPr>
            <a:lvl2pPr marL="457189" indent="0">
              <a:buFontTx/>
              <a:buNone/>
              <a:defRPr/>
            </a:lvl2pPr>
            <a:lvl3pPr marL="914378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503238" y="1419225"/>
            <a:ext cx="3960812" cy="156889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4679950" y="1378716"/>
            <a:ext cx="3960813" cy="215444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375"/>
              </a:spcBef>
              <a:buFontTx/>
              <a:buNone/>
              <a:defRPr sz="1400" baseline="0"/>
            </a:lvl1pPr>
            <a:lvl2pPr marL="457189" indent="0">
              <a:buFontTx/>
              <a:buNone/>
              <a:defRPr/>
            </a:lvl2pPr>
            <a:lvl3pPr marL="914378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6"/>
          </p:nvPr>
        </p:nvSpPr>
        <p:spPr>
          <a:xfrm>
            <a:off x="4679948" y="3060520"/>
            <a:ext cx="3960814" cy="15732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marL="270000" marR="0" lvl="0" indent="-270000" algn="l" defTabSz="457189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450"/>
              </a:spcAft>
              <a:buClr>
                <a:schemeClr val="accent1"/>
              </a:buClr>
              <a:buSzPct val="100000"/>
              <a:buFont typeface="Wingdings" charset="2"/>
              <a:buNone/>
              <a:tabLst/>
              <a:defRPr/>
            </a:pP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03238" y="3040697"/>
            <a:ext cx="3960812" cy="127328"/>
          </a:xfrm>
        </p:spPr>
        <p:txBody>
          <a:bodyPr/>
          <a:lstStyle>
            <a:lvl1pPr marL="0" indent="0" algn="r">
              <a:buFontTx/>
              <a:buNone/>
              <a:defRPr sz="600" cap="none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 Bei Bedarf angeben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79950" y="4684341"/>
            <a:ext cx="3960812" cy="103232"/>
          </a:xfrm>
        </p:spPr>
        <p:txBody>
          <a:bodyPr/>
          <a:lstStyle>
            <a:lvl1pPr marL="0" indent="0">
              <a:buFontTx/>
              <a:buNone/>
              <a:defRPr sz="600" cap="none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 Bei Bedarf angeb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Bildplatzhalter 11"/>
          <p:cNvSpPr>
            <a:spLocks noGrp="1" noChangeAspect="1"/>
          </p:cNvSpPr>
          <p:nvPr>
            <p:ph type="pic" sz="quarter" idx="17"/>
          </p:nvPr>
        </p:nvSpPr>
        <p:spPr>
          <a:xfrm>
            <a:off x="503238" y="1419226"/>
            <a:ext cx="2519999" cy="1271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750" baseline="0"/>
            </a:lvl1pPr>
          </a:lstStyle>
          <a:p>
            <a:endParaRPr lang="de-DE" dirty="0"/>
          </a:p>
        </p:txBody>
      </p:sp>
      <p:sp>
        <p:nvSpPr>
          <p:cNvPr id="13" name="Bildplatzhalter 11"/>
          <p:cNvSpPr>
            <a:spLocks noGrp="1" noChangeAspect="1"/>
          </p:cNvSpPr>
          <p:nvPr>
            <p:ph type="pic" sz="quarter" idx="18"/>
          </p:nvPr>
        </p:nvSpPr>
        <p:spPr>
          <a:xfrm>
            <a:off x="3311999" y="1419226"/>
            <a:ext cx="2511161" cy="12715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750" baseline="0"/>
            </a:lvl1pPr>
          </a:lstStyle>
          <a:p>
            <a:endParaRPr lang="de-DE" dirty="0"/>
          </a:p>
        </p:txBody>
      </p:sp>
      <p:sp>
        <p:nvSpPr>
          <p:cNvPr id="14" name="Bildplatzhalter 11"/>
          <p:cNvSpPr>
            <a:spLocks noGrp="1" noChangeAspect="1"/>
          </p:cNvSpPr>
          <p:nvPr>
            <p:ph type="pic" sz="quarter" idx="19"/>
          </p:nvPr>
        </p:nvSpPr>
        <p:spPr>
          <a:xfrm>
            <a:off x="6120763" y="1419226"/>
            <a:ext cx="2519999" cy="12715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750" baseline="0"/>
            </a:lvl1pPr>
          </a:lstStyle>
          <a:p>
            <a:endParaRPr lang="de-DE" dirty="0"/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3175348" y="1419226"/>
            <a:ext cx="244" cy="336708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>
            <a:off x="5984316" y="1419226"/>
            <a:ext cx="0" cy="336575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" name="Fußzeilenplatzhalter 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503238" y="2728029"/>
            <a:ext cx="2519999" cy="103232"/>
          </a:xfrm>
        </p:spPr>
        <p:txBody>
          <a:bodyPr/>
          <a:lstStyle>
            <a:lvl1pPr marL="0" indent="0">
              <a:buFontTx/>
              <a:buNone/>
              <a:defRPr sz="600" cap="none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 Bei Bedarf angeben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3307579" y="2728029"/>
            <a:ext cx="2519999" cy="103232"/>
          </a:xfrm>
        </p:spPr>
        <p:txBody>
          <a:bodyPr/>
          <a:lstStyle>
            <a:lvl1pPr marL="0" indent="0">
              <a:buFontTx/>
              <a:buNone/>
              <a:defRPr sz="600" cap="none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 Bei Bedarf angeben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120764" y="2728029"/>
            <a:ext cx="2519999" cy="103232"/>
          </a:xfrm>
        </p:spPr>
        <p:txBody>
          <a:bodyPr/>
          <a:lstStyle>
            <a:lvl1pPr marL="0" indent="0">
              <a:buFontTx/>
              <a:buNone/>
              <a:defRPr sz="600" cap="none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 Bei Bedarf a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/>
          </p:nvPr>
        </p:nvSpPr>
        <p:spPr>
          <a:xfrm>
            <a:off x="503238" y="2900004"/>
            <a:ext cx="2519362" cy="1884722"/>
          </a:xfrm>
        </p:spPr>
        <p:txBody>
          <a:bodyPr/>
          <a:lstStyle>
            <a:lvl1pPr>
              <a:defRPr sz="13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>
          <a:xfrm>
            <a:off x="3307579" y="2900363"/>
            <a:ext cx="2515371" cy="1884362"/>
          </a:xfrm>
        </p:spPr>
        <p:txBody>
          <a:bodyPr/>
          <a:lstStyle>
            <a:lvl1pPr>
              <a:defRPr sz="13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8"/>
          </p:nvPr>
        </p:nvSpPr>
        <p:spPr>
          <a:xfrm>
            <a:off x="6120764" y="2900363"/>
            <a:ext cx="2520000" cy="1884362"/>
          </a:xfrm>
        </p:spPr>
        <p:txBody>
          <a:bodyPr/>
          <a:lstStyle>
            <a:lvl1pPr>
              <a:defRPr sz="13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295514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kästen mi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1565329" y="1423191"/>
            <a:ext cx="2898721" cy="938089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375"/>
              </a:spcBef>
              <a:buFontTx/>
              <a:buNone/>
              <a:defRPr sz="1300" baseline="0"/>
            </a:lvl1pPr>
            <a:lvl2pPr marL="457189" indent="0">
              <a:buFontTx/>
              <a:buNone/>
              <a:defRPr/>
            </a:lvl2pPr>
            <a:lvl3pPr marL="914378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Bildplatzhalter 11"/>
          <p:cNvSpPr>
            <a:spLocks noGrp="1" noChangeAspect="1"/>
          </p:cNvSpPr>
          <p:nvPr>
            <p:ph type="pic" sz="quarter" idx="17"/>
          </p:nvPr>
        </p:nvSpPr>
        <p:spPr>
          <a:xfrm>
            <a:off x="511818" y="1440618"/>
            <a:ext cx="900000" cy="90000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750" baseline="0"/>
            </a:lvl1pPr>
          </a:lstStyle>
          <a:p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503238" y="2491981"/>
            <a:ext cx="3960812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1565329" y="2625953"/>
            <a:ext cx="2898721" cy="938089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375"/>
              </a:spcBef>
              <a:buFontTx/>
              <a:buNone/>
              <a:defRPr sz="1300" baseline="0"/>
            </a:lvl1pPr>
            <a:lvl2pPr marL="457189" indent="0">
              <a:buFontTx/>
              <a:buNone/>
              <a:defRPr/>
            </a:lvl2pPr>
            <a:lvl3pPr marL="914378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0" name="Bildplatzhalter 11"/>
          <p:cNvSpPr>
            <a:spLocks noGrp="1" noChangeAspect="1"/>
          </p:cNvSpPr>
          <p:nvPr>
            <p:ph type="pic" sz="quarter" idx="21"/>
          </p:nvPr>
        </p:nvSpPr>
        <p:spPr>
          <a:xfrm>
            <a:off x="503385" y="2648361"/>
            <a:ext cx="900000" cy="90000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750" baseline="0"/>
            </a:lvl1pPr>
          </a:lstStyle>
          <a:p>
            <a:endParaRPr lang="de-DE" dirty="0"/>
          </a:p>
        </p:txBody>
      </p:sp>
      <p:cxnSp>
        <p:nvCxnSpPr>
          <p:cNvPr id="21" name="Gerade Verbindung 20"/>
          <p:cNvCxnSpPr/>
          <p:nvPr userDrawn="1"/>
        </p:nvCxnSpPr>
        <p:spPr>
          <a:xfrm>
            <a:off x="503238" y="3682631"/>
            <a:ext cx="3960812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1565329" y="3799350"/>
            <a:ext cx="2898721" cy="938089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375"/>
              </a:spcBef>
              <a:buFontTx/>
              <a:buNone/>
              <a:defRPr sz="1300" baseline="0"/>
            </a:lvl1pPr>
            <a:lvl2pPr marL="457189" indent="0">
              <a:buFontTx/>
              <a:buNone/>
              <a:defRPr/>
            </a:lvl2pPr>
            <a:lvl3pPr marL="914378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4" name="Bildplatzhalter 11"/>
          <p:cNvSpPr>
            <a:spLocks noGrp="1" noChangeAspect="1"/>
          </p:cNvSpPr>
          <p:nvPr>
            <p:ph type="pic" sz="quarter" idx="23"/>
          </p:nvPr>
        </p:nvSpPr>
        <p:spPr>
          <a:xfrm>
            <a:off x="503238" y="3830994"/>
            <a:ext cx="900000" cy="865385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750" baseline="0"/>
            </a:lvl1pPr>
          </a:lstStyle>
          <a:p>
            <a:endParaRPr lang="de-DE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5718875" y="1426555"/>
            <a:ext cx="2921888" cy="938089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375"/>
              </a:spcBef>
              <a:buFontTx/>
              <a:buNone/>
              <a:defRPr sz="1300" baseline="0"/>
            </a:lvl1pPr>
            <a:lvl2pPr marL="457189" indent="0">
              <a:buFontTx/>
              <a:buNone/>
              <a:defRPr/>
            </a:lvl2pPr>
            <a:lvl3pPr marL="914378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6" name="Bildplatzhalter 11"/>
          <p:cNvSpPr>
            <a:spLocks noGrp="1" noChangeAspect="1"/>
          </p:cNvSpPr>
          <p:nvPr>
            <p:ph type="pic" sz="quarter" idx="25"/>
          </p:nvPr>
        </p:nvSpPr>
        <p:spPr>
          <a:xfrm>
            <a:off x="4669426" y="1443808"/>
            <a:ext cx="900000" cy="90000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750" baseline="0"/>
            </a:lvl1pPr>
          </a:lstStyle>
          <a:p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6"/>
          </p:nvPr>
        </p:nvSpPr>
        <p:spPr>
          <a:xfrm>
            <a:off x="5718875" y="2621440"/>
            <a:ext cx="2921888" cy="938089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375"/>
              </a:spcBef>
              <a:buFontTx/>
              <a:buNone/>
              <a:defRPr sz="1300" baseline="0"/>
            </a:lvl1pPr>
            <a:lvl2pPr marL="457189" indent="0">
              <a:buFontTx/>
              <a:buNone/>
              <a:defRPr/>
            </a:lvl2pPr>
            <a:lvl3pPr marL="914378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8" name="Bildplatzhalter 11"/>
          <p:cNvSpPr>
            <a:spLocks noGrp="1" noChangeAspect="1"/>
          </p:cNvSpPr>
          <p:nvPr>
            <p:ph type="pic" sz="quarter" idx="27"/>
          </p:nvPr>
        </p:nvSpPr>
        <p:spPr>
          <a:xfrm>
            <a:off x="4679950" y="2640484"/>
            <a:ext cx="900000" cy="90000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750" baseline="0"/>
            </a:lvl1pPr>
          </a:lstStyle>
          <a:p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28"/>
          </p:nvPr>
        </p:nvSpPr>
        <p:spPr>
          <a:xfrm>
            <a:off x="5718875" y="3802714"/>
            <a:ext cx="2921888" cy="938089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375"/>
              </a:spcBef>
              <a:buFontTx/>
              <a:buNone/>
              <a:defRPr sz="1300" baseline="0"/>
            </a:lvl1pPr>
            <a:lvl2pPr marL="457189" indent="0">
              <a:buFontTx/>
              <a:buNone/>
              <a:defRPr/>
            </a:lvl2pPr>
            <a:lvl3pPr marL="914378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0" name="Bildplatzhalter 11"/>
          <p:cNvSpPr>
            <a:spLocks noGrp="1" noChangeAspect="1"/>
          </p:cNvSpPr>
          <p:nvPr>
            <p:ph type="pic" sz="quarter" idx="29"/>
          </p:nvPr>
        </p:nvSpPr>
        <p:spPr>
          <a:xfrm>
            <a:off x="4679950" y="3813686"/>
            <a:ext cx="900000" cy="90000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750" baseline="0"/>
            </a:lvl1pPr>
          </a:lstStyle>
          <a:p>
            <a:endParaRPr lang="de-DE" dirty="0"/>
          </a:p>
        </p:txBody>
      </p:sp>
      <p:cxnSp>
        <p:nvCxnSpPr>
          <p:cNvPr id="31" name="Gerade Verbindung 30"/>
          <p:cNvCxnSpPr/>
          <p:nvPr userDrawn="1"/>
        </p:nvCxnSpPr>
        <p:spPr>
          <a:xfrm>
            <a:off x="4679950" y="2491981"/>
            <a:ext cx="3960812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4679950" y="3688894"/>
            <a:ext cx="3960812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4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>
          <a:xfrm>
            <a:off x="503240" y="1419226"/>
            <a:ext cx="3960811" cy="3367088"/>
          </a:xfrm>
        </p:spPr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4679950" y="1419225"/>
            <a:ext cx="3960813" cy="3367088"/>
          </a:xfr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503238" y="1419226"/>
            <a:ext cx="3960812" cy="3367086"/>
          </a:xfrm>
        </p:spPr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4679950" y="1419225"/>
            <a:ext cx="3960813" cy="3367088"/>
          </a:xfr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825766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-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4" name="SmartArt-Platzhalter 3"/>
          <p:cNvSpPr>
            <a:spLocks noGrp="1"/>
          </p:cNvSpPr>
          <p:nvPr>
            <p:ph type="dgm" sz="quarter" idx="18"/>
          </p:nvPr>
        </p:nvSpPr>
        <p:spPr>
          <a:xfrm>
            <a:off x="503238" y="1419225"/>
            <a:ext cx="4068762" cy="3367088"/>
          </a:xfrm>
        </p:spPr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4679950" y="1419225"/>
            <a:ext cx="3960813" cy="3367088"/>
          </a:xfr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b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503238" y="1419226"/>
            <a:ext cx="3960812" cy="3367086"/>
          </a:xfrm>
        </p:spPr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11" name="Tabellenplatzhalter 8"/>
          <p:cNvSpPr>
            <a:spLocks noGrp="1"/>
          </p:cNvSpPr>
          <p:nvPr>
            <p:ph type="tbl" sz="quarter" idx="18"/>
          </p:nvPr>
        </p:nvSpPr>
        <p:spPr>
          <a:xfrm>
            <a:off x="4679950" y="1419226"/>
            <a:ext cx="3960812" cy="3367087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503237" y="1668385"/>
            <a:ext cx="6192838" cy="846386"/>
          </a:xfrm>
        </p:spPr>
        <p:txBody>
          <a:bodyPr anchor="b" anchorCtr="0"/>
          <a:lstStyle>
            <a:lvl1pPr>
              <a:lnSpc>
                <a:spcPts val="3300"/>
              </a:lnSpc>
              <a:defRPr cap="all" baseline="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503238" y="2629868"/>
            <a:ext cx="6192837" cy="2308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800"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1188" y="4578992"/>
            <a:ext cx="6194888" cy="2308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buFontTx/>
              <a:buNone/>
              <a:defRPr sz="1500" cap="none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Autor, Abteilung und Datum bearbeiten</a:t>
            </a:r>
          </a:p>
        </p:txBody>
      </p:sp>
    </p:spTree>
    <p:extLst>
      <p:ext uri="{BB962C8B-B14F-4D97-AF65-F5344CB8AC3E}">
        <p14:creationId xmlns:p14="http://schemas.microsoft.com/office/powerpoint/2010/main" val="2600702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3"/>
          </p:nvPr>
        </p:nvSpPr>
        <p:spPr>
          <a:xfrm>
            <a:off x="503238" y="1419226"/>
            <a:ext cx="8137524" cy="3367088"/>
          </a:xfrm>
        </p:spPr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133520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>
          <a:xfrm>
            <a:off x="503238" y="1419226"/>
            <a:ext cx="8137525" cy="3367088"/>
          </a:xfrm>
        </p:spPr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234519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-Art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4" name="SmartArt-Platzhalter 3"/>
          <p:cNvSpPr>
            <a:spLocks noGrp="1"/>
          </p:cNvSpPr>
          <p:nvPr>
            <p:ph type="dgm" sz="quarter" idx="17"/>
          </p:nvPr>
        </p:nvSpPr>
        <p:spPr>
          <a:xfrm>
            <a:off x="503238" y="1419225"/>
            <a:ext cx="8137525" cy="3367088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AT" dirty="0"/>
              <a:t>Quelle: Angabe der Quelle oder lösch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421842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503238" y="700088"/>
            <a:ext cx="6084887" cy="269304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6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03238" y="1419226"/>
            <a:ext cx="8137525" cy="336708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Datumsplatzhalter 7"/>
          <p:cNvSpPr>
            <a:spLocks noGrp="1"/>
          </p:cNvSpPr>
          <p:nvPr>
            <p:ph type="dt" sz="half" idx="14"/>
          </p:nvPr>
        </p:nvSpPr>
        <p:spPr>
          <a:xfrm>
            <a:off x="503238" y="4911180"/>
            <a:ext cx="2052637" cy="92333"/>
          </a:xfrm>
        </p:spPr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29" name="Fußzeilenplatzhalter 8"/>
          <p:cNvSpPr>
            <a:spLocks noGrp="1"/>
          </p:cNvSpPr>
          <p:nvPr>
            <p:ph type="ftr" sz="quarter" idx="15"/>
          </p:nvPr>
        </p:nvSpPr>
        <p:spPr>
          <a:xfrm>
            <a:off x="2555875" y="4911182"/>
            <a:ext cx="4032251" cy="123109"/>
          </a:xfrm>
        </p:spPr>
        <p:txBody>
          <a:bodyPr/>
          <a:lstStyle/>
          <a:p>
            <a:r>
              <a:rPr lang="de-DE" dirty="0"/>
              <a:t>R. Albrecht  I  Bereich Kundenserviceprodukte I  Mai 2017</a:t>
            </a:r>
          </a:p>
        </p:txBody>
      </p:sp>
      <p:sp>
        <p:nvSpPr>
          <p:cNvPr id="30" name="Foliennummernplatzhalter 9"/>
          <p:cNvSpPr>
            <a:spLocks noGrp="1"/>
          </p:cNvSpPr>
          <p:nvPr>
            <p:ph type="sldNum" sz="quarter" idx="16"/>
          </p:nvPr>
        </p:nvSpPr>
        <p:spPr>
          <a:xfrm>
            <a:off x="6588126" y="4911180"/>
            <a:ext cx="2052638" cy="123111"/>
          </a:xfrm>
        </p:spPr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1" name="Bild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6614" y="256754"/>
            <a:ext cx="1255762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106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2022476"/>
            <a:ext cx="9144000" cy="277018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03237" y="786715"/>
            <a:ext cx="6192838" cy="846386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503238" y="1681296"/>
            <a:ext cx="6192839" cy="2308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800"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2318234" y="3274953"/>
            <a:ext cx="4377841" cy="323165"/>
          </a:xfrm>
          <a:prstGeom prst="rect">
            <a:avLst/>
          </a:prstGeom>
        </p:spPr>
        <p:txBody>
          <a:bodyPr wrap="square" lIns="0" tIns="0" r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cap="none" baseline="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8" name="Titel 1"/>
          <p:cNvSpPr txBox="1">
            <a:spLocks/>
          </p:cNvSpPr>
          <p:nvPr userDrawn="1"/>
        </p:nvSpPr>
        <p:spPr>
          <a:xfrm>
            <a:off x="1405834" y="-1064984"/>
            <a:ext cx="825623" cy="384720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20000" kern="1200" spc="-100" baseline="0">
                <a:solidFill>
                  <a:schemeClr val="accent1"/>
                </a:solidFill>
                <a:latin typeface="Times Fett" charset="0"/>
                <a:ea typeface="+mj-ea"/>
                <a:cs typeface="+mj-cs"/>
              </a:defRPr>
            </a:lvl1pPr>
          </a:lstStyle>
          <a:p>
            <a:r>
              <a:rPr lang="de-DE" sz="25000" baseline="0" dirty="0">
                <a:solidFill>
                  <a:schemeClr val="accent1"/>
                </a:solidFill>
                <a:latin typeface="Times New Roman Fett" charset="0"/>
              </a:rPr>
              <a:t>‚</a:t>
            </a:r>
          </a:p>
        </p:txBody>
      </p:sp>
      <p:sp>
        <p:nvSpPr>
          <p:cNvPr id="9" name="Titel 1"/>
          <p:cNvSpPr txBox="1">
            <a:spLocks/>
          </p:cNvSpPr>
          <p:nvPr userDrawn="1"/>
        </p:nvSpPr>
        <p:spPr>
          <a:xfrm>
            <a:off x="728685" y="-1064983"/>
            <a:ext cx="825623" cy="384720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20000" kern="1200" spc="-100" baseline="0">
                <a:solidFill>
                  <a:schemeClr val="accent1"/>
                </a:solidFill>
                <a:latin typeface="Times Fett" charset="0"/>
                <a:ea typeface="+mj-ea"/>
                <a:cs typeface="+mj-cs"/>
              </a:defRPr>
            </a:lvl1pPr>
          </a:lstStyle>
          <a:p>
            <a:r>
              <a:rPr lang="de-DE" sz="25000" baseline="0" dirty="0">
                <a:solidFill>
                  <a:schemeClr val="accent1"/>
                </a:solidFill>
                <a:latin typeface="Times New Roman Fett" charset="0"/>
              </a:rPr>
              <a:t>‚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503238" y="700089"/>
            <a:ext cx="4068763" cy="44434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r>
              <a:rPr lang="de-DE" dirty="0"/>
              <a:t>Portrait</a:t>
            </a:r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00" y="2571750"/>
            <a:ext cx="4068763" cy="323165"/>
          </a:xfrm>
          <a:prstGeom prst="rect">
            <a:avLst/>
          </a:prstGeom>
        </p:spPr>
        <p:txBody>
          <a:bodyPr wrap="square" lIns="0" tIns="0" r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cap="none" baseline="0">
                <a:solidFill>
                  <a:schemeClr val="bg1">
                    <a:lumMod val="50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8" name="Titel 1"/>
          <p:cNvSpPr txBox="1">
            <a:spLocks/>
          </p:cNvSpPr>
          <p:nvPr userDrawn="1"/>
        </p:nvSpPr>
        <p:spPr>
          <a:xfrm>
            <a:off x="4855455" y="263425"/>
            <a:ext cx="825623" cy="230832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20000" kern="1200" spc="-100" baseline="0">
                <a:solidFill>
                  <a:schemeClr val="accent1"/>
                </a:solidFill>
                <a:latin typeface="Times Fett" charset="0"/>
                <a:ea typeface="+mj-ea"/>
                <a:cs typeface="+mj-cs"/>
              </a:defRPr>
            </a:lvl1pPr>
          </a:lstStyle>
          <a:p>
            <a:r>
              <a:rPr lang="de-DE" sz="15000" baseline="0" dirty="0">
                <a:solidFill>
                  <a:schemeClr val="accent1"/>
                </a:solidFill>
                <a:latin typeface="Times New Roman Fett" charset="0"/>
              </a:rPr>
              <a:t>‚</a:t>
            </a:r>
          </a:p>
        </p:txBody>
      </p:sp>
      <p:sp>
        <p:nvSpPr>
          <p:cNvPr id="9" name="Titel 1"/>
          <p:cNvSpPr txBox="1">
            <a:spLocks/>
          </p:cNvSpPr>
          <p:nvPr userDrawn="1"/>
        </p:nvSpPr>
        <p:spPr>
          <a:xfrm>
            <a:off x="4434024" y="263426"/>
            <a:ext cx="825623" cy="230832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20000" kern="1200" spc="-100" baseline="0">
                <a:solidFill>
                  <a:schemeClr val="accent1"/>
                </a:solidFill>
                <a:latin typeface="Times Fett" charset="0"/>
                <a:ea typeface="+mj-ea"/>
                <a:cs typeface="+mj-cs"/>
              </a:defRPr>
            </a:lvl1pPr>
          </a:lstStyle>
          <a:p>
            <a:r>
              <a:rPr lang="de-DE" sz="15000" baseline="0" dirty="0">
                <a:solidFill>
                  <a:schemeClr val="accent1"/>
                </a:solidFill>
                <a:latin typeface="Times New Roman Fett" charset="0"/>
              </a:rPr>
              <a:t>‚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folie/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3238" y="697126"/>
            <a:ext cx="6192837" cy="269304"/>
          </a:xfrm>
        </p:spPr>
        <p:txBody>
          <a:bodyPr anchor="t" anchorCtr="0"/>
          <a:lstStyle>
            <a:lvl1pPr>
              <a:lnSpc>
                <a:spcPts val="2100"/>
              </a:lnSpc>
              <a:defRPr sz="2200" cap="none" baseline="0">
                <a:latin typeface="Arial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03239" y="2907720"/>
            <a:ext cx="2392362" cy="23083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500"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Dr. Max Musterman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1186" y="3179833"/>
            <a:ext cx="2394415" cy="33855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 i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Funktion</a:t>
            </a:r>
          </a:p>
          <a:p>
            <a:pPr lvl="0"/>
            <a:r>
              <a:rPr lang="de-DE" dirty="0"/>
              <a:t>Raiffeisen Software GmbH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1186" y="3553051"/>
            <a:ext cx="2394415" cy="101566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lang="de-DE" sz="1100" b="0" i="0" baseline="0" smtClean="0">
                <a:effectLst/>
              </a:defRPr>
            </a:lvl1pPr>
          </a:lstStyle>
          <a:p>
            <a:pPr lvl="0"/>
            <a:r>
              <a:rPr lang="de-DE" b="0" i="0" dirty="0" err="1">
                <a:solidFill>
                  <a:srgbClr val="333333"/>
                </a:solidFill>
                <a:effectLst/>
                <a:latin typeface="Arial" charset="0"/>
              </a:rPr>
              <a:t>Strasse</a:t>
            </a:r>
            <a:br>
              <a:rPr lang="de-DE" dirty="0"/>
            </a:br>
            <a:r>
              <a:rPr lang="de-DE" b="0" i="0" dirty="0">
                <a:solidFill>
                  <a:srgbClr val="333333"/>
                </a:solidFill>
                <a:effectLst/>
                <a:latin typeface="Arial" charset="0"/>
              </a:rPr>
              <a:t>PLZ, Ort</a:t>
            </a:r>
            <a:br>
              <a:rPr lang="de-DE" dirty="0"/>
            </a:br>
            <a:r>
              <a:rPr lang="de-DE" b="0" i="0" dirty="0">
                <a:solidFill>
                  <a:srgbClr val="333333"/>
                </a:solidFill>
                <a:effectLst/>
                <a:latin typeface="Arial" charset="0"/>
              </a:rPr>
              <a:t>Telefon</a:t>
            </a:r>
          </a:p>
          <a:p>
            <a:pPr lvl="0"/>
            <a:r>
              <a:rPr lang="de-DE" b="0" i="0" dirty="0">
                <a:solidFill>
                  <a:srgbClr val="333333"/>
                </a:solidFill>
                <a:effectLst/>
                <a:latin typeface="Arial" charset="0"/>
              </a:rPr>
              <a:t>Handy</a:t>
            </a:r>
          </a:p>
          <a:p>
            <a:pPr lvl="0"/>
            <a:r>
              <a:rPr lang="de-DE" b="0" i="0" dirty="0" err="1">
                <a:solidFill>
                  <a:srgbClr val="333333"/>
                </a:solidFill>
                <a:effectLst/>
                <a:latin typeface="Arial" charset="0"/>
              </a:rPr>
              <a:t>name@r-software.at</a:t>
            </a:r>
            <a:endParaRPr lang="de-DE" b="0" i="0" dirty="0">
              <a:solidFill>
                <a:srgbClr val="333333"/>
              </a:solidFill>
              <a:effectLst/>
              <a:latin typeface="Arial" charset="0"/>
            </a:endParaRPr>
          </a:p>
          <a:p>
            <a:pPr lvl="0"/>
            <a:r>
              <a:rPr lang="de-DE" b="0" i="0" dirty="0" err="1">
                <a:solidFill>
                  <a:srgbClr val="333333"/>
                </a:solidFill>
                <a:effectLst/>
                <a:latin typeface="Arial" charset="0"/>
              </a:rPr>
              <a:t>r-software.at</a:t>
            </a:r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935242" y="3177276"/>
            <a:ext cx="2393678" cy="33855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b="1" i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Funktion</a:t>
            </a:r>
          </a:p>
          <a:p>
            <a:pPr lvl="0"/>
            <a:r>
              <a:rPr lang="de-DE" dirty="0"/>
              <a:t>Raiffeisen Software GmbH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935242" y="3553051"/>
            <a:ext cx="2393678" cy="101566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lang="de-DE" sz="1100" b="0" i="0" baseline="0" smtClean="0">
                <a:effectLst/>
              </a:defRPr>
            </a:lvl1pPr>
          </a:lstStyle>
          <a:p>
            <a:pPr lvl="0"/>
            <a:r>
              <a:rPr lang="de-DE" b="0" i="0" dirty="0" err="1">
                <a:solidFill>
                  <a:srgbClr val="333333"/>
                </a:solidFill>
                <a:effectLst/>
                <a:latin typeface="Arial" charset="0"/>
              </a:rPr>
              <a:t>Strasse</a:t>
            </a:r>
            <a:br>
              <a:rPr lang="de-DE" dirty="0"/>
            </a:br>
            <a:r>
              <a:rPr lang="de-DE" b="0" i="0" dirty="0">
                <a:solidFill>
                  <a:srgbClr val="333333"/>
                </a:solidFill>
                <a:effectLst/>
                <a:latin typeface="Arial" charset="0"/>
              </a:rPr>
              <a:t>PLZ, Ort</a:t>
            </a:r>
            <a:br>
              <a:rPr lang="de-DE" dirty="0"/>
            </a:br>
            <a:r>
              <a:rPr lang="de-DE" b="0" i="0" dirty="0">
                <a:solidFill>
                  <a:srgbClr val="333333"/>
                </a:solidFill>
                <a:effectLst/>
                <a:latin typeface="Arial" charset="0"/>
              </a:rPr>
              <a:t>Telefon</a:t>
            </a:r>
          </a:p>
          <a:p>
            <a:pPr lvl="0"/>
            <a:r>
              <a:rPr lang="de-DE" b="0" i="0" dirty="0">
                <a:solidFill>
                  <a:srgbClr val="333333"/>
                </a:solidFill>
                <a:effectLst/>
                <a:latin typeface="Arial" charset="0"/>
              </a:rPr>
              <a:t>Handy</a:t>
            </a:r>
          </a:p>
          <a:p>
            <a:pPr lvl="0"/>
            <a:r>
              <a:rPr lang="de-DE" b="0" i="0" dirty="0" err="1">
                <a:solidFill>
                  <a:srgbClr val="333333"/>
                </a:solidFill>
                <a:effectLst/>
                <a:latin typeface="Arial" charset="0"/>
              </a:rPr>
              <a:t>name@r-software.at</a:t>
            </a:r>
            <a:endParaRPr lang="de-DE" b="0" i="0" dirty="0">
              <a:solidFill>
                <a:srgbClr val="333333"/>
              </a:solidFill>
              <a:effectLst/>
              <a:latin typeface="Arial" charset="0"/>
            </a:endParaRPr>
          </a:p>
          <a:p>
            <a:pPr lvl="0"/>
            <a:r>
              <a:rPr lang="de-DE" b="0" i="0" dirty="0" err="1">
                <a:solidFill>
                  <a:srgbClr val="333333"/>
                </a:solidFill>
                <a:effectLst/>
                <a:latin typeface="Arial" charset="0"/>
              </a:rPr>
              <a:t>r-software.at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2935242" y="2907720"/>
            <a:ext cx="2393678" cy="23083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1500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de-DE" dirty="0"/>
              <a:t>Dr. Max Mustermann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795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03239" y="1419226"/>
            <a:ext cx="8137525" cy="3367088"/>
          </a:xfrm>
        </p:spPr>
        <p:txBody>
          <a:bodyPr/>
          <a:lstStyle>
            <a:lvl1pPr marL="270000" indent="-270000">
              <a:buFont typeface="+mj-lt"/>
              <a:buAutoNum type="arabicPeriod"/>
              <a:defRPr/>
            </a:lvl1pPr>
            <a:lvl2pPr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 err="1"/>
              <a:t>Ljojj</a:t>
            </a:r>
            <a:endParaRPr lang="de-DE" dirty="0"/>
          </a:p>
          <a:p>
            <a:pPr lvl="2"/>
            <a:r>
              <a:rPr lang="de-DE" dirty="0" err="1"/>
              <a:t>ijpoijpop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5964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3238" y="700088"/>
            <a:ext cx="6084887" cy="269304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03238" y="1419226"/>
            <a:ext cx="8137525" cy="336708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47590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572000" y="1419225"/>
            <a:ext cx="0" cy="336708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Max Mustermann  I  Abteilung  I  Datum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/>
          </p:nvPr>
        </p:nvSpPr>
        <p:spPr>
          <a:xfrm>
            <a:off x="503238" y="974017"/>
            <a:ext cx="6084887" cy="2360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cap="none" baseline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503238" y="1419225"/>
            <a:ext cx="3960812" cy="3367088"/>
          </a:xfr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9"/>
          </p:nvPr>
        </p:nvSpPr>
        <p:spPr>
          <a:xfrm>
            <a:off x="4679950" y="1419225"/>
            <a:ext cx="3960813" cy="3367088"/>
          </a:xfr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14193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6413" y="700886"/>
            <a:ext cx="6192837" cy="84638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AT" dirty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704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70" r:id="rId2"/>
    <p:sldLayoutId id="2147483837" r:id="rId3"/>
    <p:sldLayoutId id="2147483862" r:id="rId4"/>
    <p:sldLayoutId id="2147483838" r:id="rId5"/>
    <p:sldLayoutId id="2147483861" r:id="rId6"/>
  </p:sldLayoutIdLst>
  <p:hf hdr="0"/>
  <p:txStyles>
    <p:titleStyle>
      <a:lvl1pPr algn="l" defTabSz="457189" rtl="0" eaLnBrk="1" latinLnBrk="0" hangingPunct="1">
        <a:lnSpc>
          <a:spcPts val="3300"/>
        </a:lnSpc>
        <a:spcBef>
          <a:spcPct val="0"/>
        </a:spcBef>
        <a:buNone/>
        <a:defRPr sz="30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1125" kern="1200" baseline="0">
          <a:solidFill>
            <a:schemeClr val="tx1"/>
          </a:solidFill>
          <a:latin typeface="Arial" charset="0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1125" kern="1200" baseline="0">
          <a:solidFill>
            <a:schemeClr val="tx1"/>
          </a:solidFill>
          <a:latin typeface="Arial" charset="0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1125" kern="1200" baseline="0">
          <a:solidFill>
            <a:schemeClr val="tx1"/>
          </a:solidFill>
          <a:latin typeface="Arial" charset="0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1125" kern="1200" baseline="0">
          <a:solidFill>
            <a:schemeClr val="tx1"/>
          </a:solidFill>
          <a:latin typeface="Arial" charset="0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1125" kern="1200" baseline="0">
          <a:solidFill>
            <a:schemeClr val="tx1"/>
          </a:solidFill>
          <a:latin typeface="Arial" charset="0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platzhalter 1"/>
          <p:cNvSpPr>
            <a:spLocks noGrp="1"/>
          </p:cNvSpPr>
          <p:nvPr>
            <p:ph type="title"/>
          </p:nvPr>
        </p:nvSpPr>
        <p:spPr>
          <a:xfrm>
            <a:off x="503238" y="700088"/>
            <a:ext cx="6084887" cy="2693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idx="1"/>
          </p:nvPr>
        </p:nvSpPr>
        <p:spPr>
          <a:xfrm>
            <a:off x="503238" y="1419226"/>
            <a:ext cx="8137525" cy="3367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DE" dirty="0"/>
              <a:t>Ebene zwei</a:t>
            </a:r>
          </a:p>
          <a:p>
            <a:pPr lvl="2"/>
            <a:r>
              <a:rPr lang="de-DE" dirty="0"/>
              <a:t>Ebene drei</a:t>
            </a:r>
          </a:p>
          <a:p>
            <a:pPr lvl="3"/>
            <a:r>
              <a:rPr lang="de-DE" dirty="0"/>
              <a:t>Ebene vier</a:t>
            </a:r>
          </a:p>
          <a:p>
            <a:pPr lvl="4"/>
            <a:r>
              <a:rPr lang="de-DE" dirty="0"/>
              <a:t>Eben fünf</a:t>
            </a:r>
            <a:endParaRPr lang="de-AT" dirty="0"/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503238" y="4911180"/>
            <a:ext cx="2052637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cap="none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AT" dirty="0"/>
              <a:t>Quelle: Angabe der Quelle oder löschen</a:t>
            </a: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88126" y="4911180"/>
            <a:ext cx="2052638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173078B-BB6E-1F46-9B1D-61986BEC2CA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555875" y="4911182"/>
            <a:ext cx="4032251" cy="12310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sz="8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Max Mustermann  I  Abteilung  I  Datum</a:t>
            </a:r>
          </a:p>
        </p:txBody>
      </p:sp>
    </p:spTree>
    <p:extLst>
      <p:ext uri="{BB962C8B-B14F-4D97-AF65-F5344CB8AC3E}">
        <p14:creationId xmlns:p14="http://schemas.microsoft.com/office/powerpoint/2010/main" val="1719864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43" r:id="rId2"/>
    <p:sldLayoutId id="2147483853" r:id="rId3"/>
    <p:sldLayoutId id="2147483854" r:id="rId4"/>
    <p:sldLayoutId id="2147483847" r:id="rId5"/>
    <p:sldLayoutId id="2147483863" r:id="rId6"/>
    <p:sldLayoutId id="2147483848" r:id="rId7"/>
    <p:sldLayoutId id="2147483850" r:id="rId8"/>
    <p:sldLayoutId id="2147483852" r:id="rId9"/>
    <p:sldLayoutId id="2147483845" r:id="rId10"/>
    <p:sldLayoutId id="2147483851" r:id="rId11"/>
    <p:sldLayoutId id="2147483865" r:id="rId12"/>
    <p:sldLayoutId id="2147483864" r:id="rId13"/>
    <p:sldLayoutId id="2147483849" r:id="rId14"/>
    <p:sldLayoutId id="2147483844" r:id="rId15"/>
    <p:sldLayoutId id="2147483866" r:id="rId16"/>
    <p:sldLayoutId id="2147483856" r:id="rId17"/>
    <p:sldLayoutId id="2147483868" r:id="rId18"/>
  </p:sldLayoutIdLst>
  <p:hf hdr="0"/>
  <p:txStyles>
    <p:titleStyle>
      <a:lvl1pPr algn="l" defTabSz="457189" rtl="0" eaLnBrk="1" latinLnBrk="0" hangingPunct="1">
        <a:lnSpc>
          <a:spcPts val="2100"/>
        </a:lnSpc>
        <a:spcBef>
          <a:spcPct val="0"/>
        </a:spcBef>
        <a:buNone/>
        <a:defRPr sz="2200" kern="1200" baseline="0">
          <a:solidFill>
            <a:schemeClr val="tx1"/>
          </a:solidFill>
          <a:latin typeface="Arial" charset="0"/>
          <a:ea typeface="+mj-ea"/>
          <a:cs typeface="Century Gothic"/>
        </a:defRPr>
      </a:lvl1pPr>
    </p:titleStyle>
    <p:bodyStyle>
      <a:lvl1pPr marL="270000" indent="-270000" algn="l" defTabSz="457189" rtl="0" eaLnBrk="1" latinLnBrk="0" hangingPunct="1">
        <a:lnSpc>
          <a:spcPct val="100000"/>
        </a:lnSpc>
        <a:spcBef>
          <a:spcPts val="150"/>
        </a:spcBef>
        <a:spcAft>
          <a:spcPts val="450"/>
        </a:spcAft>
        <a:buClr>
          <a:schemeClr val="accent1"/>
        </a:buClr>
        <a:buSzPct val="100000"/>
        <a:buFont typeface="Wingdings" charset="2"/>
        <a:buChar char="§"/>
        <a:defRPr sz="1500" kern="1200" baseline="0">
          <a:solidFill>
            <a:schemeClr val="tx1"/>
          </a:solidFill>
          <a:latin typeface="Arial" charset="0"/>
          <a:ea typeface="+mn-ea"/>
          <a:cs typeface="Century Gothic"/>
        </a:defRPr>
      </a:lvl1pPr>
      <a:lvl2pPr marL="540000" marR="0" indent="-270000" algn="l" defTabSz="457189" rtl="0" eaLnBrk="1" fontAlgn="auto" latinLnBrk="0" hangingPunct="1">
        <a:lnSpc>
          <a:spcPct val="100000"/>
        </a:lnSpc>
        <a:spcBef>
          <a:spcPts val="0"/>
        </a:spcBef>
        <a:spcAft>
          <a:spcPts val="150"/>
        </a:spcAft>
        <a:buClr>
          <a:schemeClr val="tx1"/>
        </a:buClr>
        <a:buSzPct val="100000"/>
        <a:buFont typeface="Wingdings" charset="2"/>
        <a:buChar char="§"/>
        <a:tabLst/>
        <a:defRPr lang="de-AT" sz="1300" b="0" i="0" kern="1200" baseline="0" smtClean="0">
          <a:solidFill>
            <a:schemeClr val="tx1"/>
          </a:solidFill>
          <a:effectLst/>
          <a:latin typeface="Arial" charset="0"/>
          <a:ea typeface="+mn-ea"/>
          <a:cs typeface="Century Gothic"/>
        </a:defRPr>
      </a:lvl2pPr>
      <a:lvl3pPr marL="810000" marR="0" indent="-270000" algn="l" defTabSz="457189" rtl="0" eaLnBrk="1" fontAlgn="auto" latinLnBrk="0" hangingPunct="1">
        <a:lnSpc>
          <a:spcPct val="100000"/>
        </a:lnSpc>
        <a:spcBef>
          <a:spcPts val="0"/>
        </a:spcBef>
        <a:spcAft>
          <a:spcPts val="150"/>
        </a:spcAft>
        <a:buClr>
          <a:schemeClr val="tx1">
            <a:lumMod val="50000"/>
            <a:lumOff val="50000"/>
          </a:schemeClr>
        </a:buClr>
        <a:buSzPct val="100000"/>
        <a:buFont typeface="Wingdings" charset="2"/>
        <a:buChar char="§"/>
        <a:tabLst/>
        <a:defRPr sz="1300" kern="1200" baseline="0">
          <a:solidFill>
            <a:schemeClr val="tx1"/>
          </a:solidFill>
          <a:latin typeface="Arial" charset="0"/>
          <a:ea typeface="+mn-ea"/>
          <a:cs typeface="Century Gothic"/>
        </a:defRPr>
      </a:lvl3pPr>
      <a:lvl4pPr marL="1080000" marR="0" indent="-270000" algn="l" defTabSz="457189" rtl="0" eaLnBrk="1" fontAlgn="auto" latinLnBrk="0" hangingPunct="1">
        <a:lnSpc>
          <a:spcPct val="100000"/>
        </a:lnSpc>
        <a:spcBef>
          <a:spcPts val="0"/>
        </a:spcBef>
        <a:spcAft>
          <a:spcPts val="150"/>
        </a:spcAft>
        <a:buClr>
          <a:schemeClr val="bg1">
            <a:lumMod val="65000"/>
          </a:schemeClr>
        </a:buClr>
        <a:buSzPct val="100000"/>
        <a:buFont typeface="Wingdings" charset="2"/>
        <a:buChar char="§"/>
        <a:tabLst/>
        <a:defRPr sz="1300" kern="1200" baseline="0">
          <a:solidFill>
            <a:schemeClr val="tx1"/>
          </a:solidFill>
          <a:latin typeface="Arial" charset="0"/>
          <a:ea typeface="+mn-ea"/>
          <a:cs typeface="Century Gothic"/>
        </a:defRPr>
      </a:lvl4pPr>
      <a:lvl5pPr marL="1350000" marR="0" indent="-270000" algn="l" defTabSz="457189" rtl="0" eaLnBrk="1" fontAlgn="auto" latinLnBrk="0" hangingPunct="1">
        <a:lnSpc>
          <a:spcPct val="100000"/>
        </a:lnSpc>
        <a:spcBef>
          <a:spcPts val="0"/>
        </a:spcBef>
        <a:spcAft>
          <a:spcPts val="150"/>
        </a:spcAft>
        <a:buClr>
          <a:schemeClr val="bg1">
            <a:lumMod val="65000"/>
          </a:schemeClr>
        </a:buClr>
        <a:buSzPct val="100000"/>
        <a:buFont typeface="Wingdings" charset="2"/>
        <a:buChar char="§"/>
        <a:tabLst/>
        <a:defRPr sz="1300" kern="1200" baseline="0">
          <a:solidFill>
            <a:schemeClr val="tx1"/>
          </a:solidFill>
          <a:latin typeface="Arial" charset="0"/>
          <a:ea typeface="+mn-ea"/>
          <a:cs typeface="Century Gothic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A58DFBA5-027C-443E-A60B-721185C3731B}"/>
              </a:ext>
            </a:extLst>
          </p:cNvPr>
          <p:cNvSpPr txBox="1"/>
          <p:nvPr/>
        </p:nvSpPr>
        <p:spPr>
          <a:xfrm>
            <a:off x="1196340" y="403860"/>
            <a:ext cx="67513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400" dirty="0"/>
              <a:t>Team ODS</a:t>
            </a:r>
            <a:endParaRPr lang="de-AT" sz="4400" dirty="0"/>
          </a:p>
        </p:txBody>
      </p:sp>
      <p:pic>
        <p:nvPicPr>
          <p:cNvPr id="3" name="Grafik 2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C9E953D8-A23A-4601-831E-CAB4CAD7AD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9489" y="1285874"/>
            <a:ext cx="4605021" cy="3453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621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42E78F5F-F4F1-43B8-A2C5-2CCF439E9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191" y="312143"/>
            <a:ext cx="6025617" cy="451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4037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57C16FD9-7BEC-46ED-8980-2214E582A346}"/>
              </a:ext>
            </a:extLst>
          </p:cNvPr>
          <p:cNvSpPr txBox="1">
            <a:spLocks/>
          </p:cNvSpPr>
          <p:nvPr/>
        </p:nvSpPr>
        <p:spPr>
          <a:xfrm>
            <a:off x="2527218" y="377384"/>
            <a:ext cx="6479622" cy="2837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Arial" charset="0"/>
                <a:ea typeface="+mj-ea"/>
                <a:cs typeface="Century Gothic"/>
              </a:defRPr>
            </a:lvl1pPr>
          </a:lstStyle>
          <a:p>
            <a:pPr algn="ctr"/>
            <a:r>
              <a:rPr lang="de-DE" sz="2800" dirty="0"/>
              <a:t>Horst </a:t>
            </a:r>
            <a:r>
              <a:rPr lang="de-DE" sz="2800" dirty="0" err="1"/>
              <a:t>Gimpl</a:t>
            </a:r>
            <a:endParaRPr lang="de-AT" sz="28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D2E516B-8343-480C-841D-2385B6E06380}"/>
              </a:ext>
            </a:extLst>
          </p:cNvPr>
          <p:cNvCxnSpPr>
            <a:cxnSpLocks/>
          </p:cNvCxnSpPr>
          <p:nvPr/>
        </p:nvCxnSpPr>
        <p:spPr>
          <a:xfrm>
            <a:off x="2331720" y="1173480"/>
            <a:ext cx="2598420" cy="10668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C5F3EF0-61D6-4AE8-87EE-831AC0F3DA13}"/>
              </a:ext>
            </a:extLst>
          </p:cNvPr>
          <p:cNvSpPr txBox="1"/>
          <p:nvPr/>
        </p:nvSpPr>
        <p:spPr>
          <a:xfrm>
            <a:off x="5074920" y="1095494"/>
            <a:ext cx="283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7 Jahre im Unternehmen</a:t>
            </a:r>
            <a:endParaRPr lang="de-AT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1223554E-D1B7-4564-9AA7-3E1E30A08A65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2269772" y="1664808"/>
            <a:ext cx="2104108" cy="689241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43FA7078-F31E-4138-8434-6B0AB1D5A430}"/>
              </a:ext>
            </a:extLst>
          </p:cNvPr>
          <p:cNvSpPr txBox="1"/>
          <p:nvPr/>
        </p:nvSpPr>
        <p:spPr>
          <a:xfrm>
            <a:off x="4373880" y="2169383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geschätzt (zu Beginn): M</a:t>
            </a:r>
            <a:endParaRPr lang="de-AT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0A90A9C-D5F4-445D-A021-203781A65176}"/>
              </a:ext>
            </a:extLst>
          </p:cNvPr>
          <p:cNvSpPr txBox="1"/>
          <p:nvPr/>
        </p:nvSpPr>
        <p:spPr>
          <a:xfrm>
            <a:off x="4373880" y="2445527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aktuell: L</a:t>
            </a:r>
            <a:endParaRPr lang="de-AT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9FCC853B-1005-4DBF-A09C-03FDACC25318}"/>
              </a:ext>
            </a:extLst>
          </p:cNvPr>
          <p:cNvCxnSpPr>
            <a:cxnSpLocks/>
          </p:cNvCxnSpPr>
          <p:nvPr/>
        </p:nvCxnSpPr>
        <p:spPr>
          <a:xfrm>
            <a:off x="2003072" y="2259135"/>
            <a:ext cx="892528" cy="85805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FE708587-74EB-4916-8FCE-7367BC303D64}"/>
              </a:ext>
            </a:extLst>
          </p:cNvPr>
          <p:cNvSpPr txBox="1"/>
          <p:nvPr/>
        </p:nvSpPr>
        <p:spPr>
          <a:xfrm>
            <a:off x="2950351" y="3051079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DC73421B-ABAD-48BB-884D-FBAB034724B2}"/>
              </a:ext>
            </a:extLst>
          </p:cNvPr>
          <p:cNvCxnSpPr>
            <a:cxnSpLocks/>
          </p:cNvCxnSpPr>
          <p:nvPr/>
        </p:nvCxnSpPr>
        <p:spPr>
          <a:xfrm>
            <a:off x="1070027" y="2449035"/>
            <a:ext cx="619014" cy="133631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FB9BA140-5BC1-4778-A5A4-803B27DBC8AA}"/>
              </a:ext>
            </a:extLst>
          </p:cNvPr>
          <p:cNvSpPr txBox="1"/>
          <p:nvPr/>
        </p:nvSpPr>
        <p:spPr>
          <a:xfrm>
            <a:off x="1553169" y="3885864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otorrad fahren, Garten, Grillen</a:t>
            </a:r>
          </a:p>
        </p:txBody>
      </p:sp>
      <p:pic>
        <p:nvPicPr>
          <p:cNvPr id="24" name="Grafik 23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B395B2E4-B37F-4631-8D52-312F429AF2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52" t="47891" r="65167" b="24988"/>
          <a:stretch/>
        </p:blipFill>
        <p:spPr>
          <a:xfrm>
            <a:off x="102316" y="105080"/>
            <a:ext cx="2121740" cy="2160000"/>
          </a:xfrm>
          <a:prstGeom prst="ellipse">
            <a:avLst/>
          </a:prstGeom>
          <a:ln w="3175" cap="rnd">
            <a:solidFill>
              <a:schemeClr val="tx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6453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  <p:bldP spid="19" grpId="0"/>
      <p:bldP spid="21" grpId="0"/>
      <p:bldP spid="2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42E78F5F-F4F1-43B8-A2C5-2CCF439E9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191" y="312143"/>
            <a:ext cx="6025617" cy="451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1081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381F55AA-DD3A-4370-B994-C16E5101A457}"/>
              </a:ext>
            </a:extLst>
          </p:cNvPr>
          <p:cNvSpPr txBox="1">
            <a:spLocks/>
          </p:cNvSpPr>
          <p:nvPr/>
        </p:nvSpPr>
        <p:spPr>
          <a:xfrm>
            <a:off x="2527218" y="377384"/>
            <a:ext cx="6479622" cy="2837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Arial" charset="0"/>
                <a:ea typeface="+mj-ea"/>
                <a:cs typeface="Century Gothic"/>
              </a:defRPr>
            </a:lvl1pPr>
          </a:lstStyle>
          <a:p>
            <a:pPr algn="ctr"/>
            <a:r>
              <a:rPr lang="de-DE" sz="2800" dirty="0"/>
              <a:t>Michael Wagner</a:t>
            </a:r>
            <a:endParaRPr lang="de-AT" sz="28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9D6C7B03-0C04-4C44-8DC9-E591774334D1}"/>
              </a:ext>
            </a:extLst>
          </p:cNvPr>
          <p:cNvCxnSpPr>
            <a:cxnSpLocks/>
          </p:cNvCxnSpPr>
          <p:nvPr/>
        </p:nvCxnSpPr>
        <p:spPr>
          <a:xfrm>
            <a:off x="2331720" y="1173480"/>
            <a:ext cx="2598420" cy="10668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69492E6C-C237-4A9A-9516-6504456BE9BB}"/>
              </a:ext>
            </a:extLst>
          </p:cNvPr>
          <p:cNvSpPr txBox="1"/>
          <p:nvPr/>
        </p:nvSpPr>
        <p:spPr>
          <a:xfrm>
            <a:off x="5074920" y="1095494"/>
            <a:ext cx="283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39 Jahre im Unternehmen</a:t>
            </a:r>
            <a:endParaRPr lang="de-AT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4B8C2767-D5C6-4689-AD73-D8FE5A2C5735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2269772" y="1664808"/>
            <a:ext cx="2104108" cy="689241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8C4B1731-04BE-467B-BEB9-437E813A8FE3}"/>
              </a:ext>
            </a:extLst>
          </p:cNvPr>
          <p:cNvSpPr txBox="1"/>
          <p:nvPr/>
        </p:nvSpPr>
        <p:spPr>
          <a:xfrm>
            <a:off x="4373880" y="2169383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geschätzt (zu Beginn): M</a:t>
            </a:r>
            <a:endParaRPr lang="de-AT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9457FCE-0974-4153-A419-82E0CABDCE53}"/>
              </a:ext>
            </a:extLst>
          </p:cNvPr>
          <p:cNvSpPr txBox="1"/>
          <p:nvPr/>
        </p:nvSpPr>
        <p:spPr>
          <a:xfrm>
            <a:off x="4373880" y="2445527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aktuell: L</a:t>
            </a:r>
            <a:endParaRPr lang="de-AT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E036CD2-6AF4-457A-9B05-F83DEDA8970F}"/>
              </a:ext>
            </a:extLst>
          </p:cNvPr>
          <p:cNvCxnSpPr>
            <a:cxnSpLocks/>
          </p:cNvCxnSpPr>
          <p:nvPr/>
        </p:nvCxnSpPr>
        <p:spPr>
          <a:xfrm>
            <a:off x="2003072" y="2259135"/>
            <a:ext cx="892528" cy="85805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607E28FD-A87C-4F4B-BB82-D1F7E403AA1E}"/>
              </a:ext>
            </a:extLst>
          </p:cNvPr>
          <p:cNvSpPr txBox="1"/>
          <p:nvPr/>
        </p:nvSpPr>
        <p:spPr>
          <a:xfrm>
            <a:off x="2950351" y="3051079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Scrum</a:t>
            </a:r>
            <a:r>
              <a:rPr lang="de-DE" dirty="0"/>
              <a:t>-Master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594EAE1-617D-4227-8501-9A024F2C797B}"/>
              </a:ext>
            </a:extLst>
          </p:cNvPr>
          <p:cNvCxnSpPr>
            <a:cxnSpLocks/>
          </p:cNvCxnSpPr>
          <p:nvPr/>
        </p:nvCxnSpPr>
        <p:spPr>
          <a:xfrm>
            <a:off x="1070027" y="2449035"/>
            <a:ext cx="619014" cy="133631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99D52247-879C-4F66-B92D-D15BE4D64365}"/>
              </a:ext>
            </a:extLst>
          </p:cNvPr>
          <p:cNvSpPr txBox="1"/>
          <p:nvPr/>
        </p:nvSpPr>
        <p:spPr>
          <a:xfrm>
            <a:off x="1553168" y="3885864"/>
            <a:ext cx="4824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erg-Wandern, Vespa-Fahren, CAT-Segeln </a:t>
            </a:r>
          </a:p>
        </p:txBody>
      </p:sp>
      <p:pic>
        <p:nvPicPr>
          <p:cNvPr id="24" name="Grafik 23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8B4B2830-D3D2-4FFB-8A0B-F767C66F183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51" t="43019" r="15868" b="29860"/>
          <a:stretch/>
        </p:blipFill>
        <p:spPr>
          <a:xfrm>
            <a:off x="102316" y="105080"/>
            <a:ext cx="2121740" cy="2160000"/>
          </a:xfrm>
          <a:prstGeom prst="ellipse">
            <a:avLst/>
          </a:prstGeom>
          <a:ln w="3175" cap="rnd">
            <a:solidFill>
              <a:schemeClr val="tx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95078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  <p:bldP spid="19" grpId="0"/>
      <p:bldP spid="21" grpId="0"/>
      <p:bldP spid="2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42E78F5F-F4F1-43B8-A2C5-2CCF439E9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191" y="312143"/>
            <a:ext cx="6025617" cy="451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58107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BCC8C0CC-3DAB-4436-B959-9E41E5160CEC}"/>
              </a:ext>
            </a:extLst>
          </p:cNvPr>
          <p:cNvSpPr txBox="1">
            <a:spLocks/>
          </p:cNvSpPr>
          <p:nvPr/>
        </p:nvSpPr>
        <p:spPr>
          <a:xfrm>
            <a:off x="2527218" y="377384"/>
            <a:ext cx="6479622" cy="2837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Arial" charset="0"/>
                <a:ea typeface="+mj-ea"/>
                <a:cs typeface="Century Gothic"/>
              </a:defRPr>
            </a:lvl1pPr>
          </a:lstStyle>
          <a:p>
            <a:pPr algn="ctr"/>
            <a:r>
              <a:rPr lang="de-DE" sz="2800" dirty="0"/>
              <a:t>Patrick Schauer</a:t>
            </a:r>
            <a:endParaRPr lang="de-AT" sz="28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FCC4F02C-7E3A-47EB-B309-6A5E6B285A12}"/>
              </a:ext>
            </a:extLst>
          </p:cNvPr>
          <p:cNvCxnSpPr>
            <a:cxnSpLocks/>
          </p:cNvCxnSpPr>
          <p:nvPr/>
        </p:nvCxnSpPr>
        <p:spPr>
          <a:xfrm>
            <a:off x="2331720" y="1173480"/>
            <a:ext cx="2598420" cy="10668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E503DDBF-5735-400F-A854-4284151C9F2F}"/>
              </a:ext>
            </a:extLst>
          </p:cNvPr>
          <p:cNvSpPr txBox="1"/>
          <p:nvPr/>
        </p:nvSpPr>
        <p:spPr>
          <a:xfrm>
            <a:off x="5074920" y="1095494"/>
            <a:ext cx="283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 Jahre im Unternehmen</a:t>
            </a:r>
            <a:endParaRPr lang="de-AT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40500F7F-45F2-4408-A95E-EEFFE9B8BD9C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2269772" y="1664808"/>
            <a:ext cx="2104108" cy="689241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4351C44-F52C-4201-B16D-A61DF3AFB6CC}"/>
              </a:ext>
            </a:extLst>
          </p:cNvPr>
          <p:cNvSpPr txBox="1"/>
          <p:nvPr/>
        </p:nvSpPr>
        <p:spPr>
          <a:xfrm>
            <a:off x="4373880" y="2169383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geschätzt (zu Beginn): M</a:t>
            </a:r>
            <a:endParaRPr lang="de-AT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C6CA8F8-5348-463B-88B0-7C6BAE62C3AC}"/>
              </a:ext>
            </a:extLst>
          </p:cNvPr>
          <p:cNvSpPr txBox="1"/>
          <p:nvPr/>
        </p:nvSpPr>
        <p:spPr>
          <a:xfrm>
            <a:off x="4373880" y="2445527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aktuell: L</a:t>
            </a:r>
            <a:endParaRPr lang="de-AT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51DE1489-B0D7-4FE5-B9C0-48F746188700}"/>
              </a:ext>
            </a:extLst>
          </p:cNvPr>
          <p:cNvCxnSpPr>
            <a:cxnSpLocks/>
          </p:cNvCxnSpPr>
          <p:nvPr/>
        </p:nvCxnSpPr>
        <p:spPr>
          <a:xfrm>
            <a:off x="2003072" y="2259135"/>
            <a:ext cx="892528" cy="85805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947849E-5502-45FD-8AEB-A94958E666EF}"/>
              </a:ext>
            </a:extLst>
          </p:cNvPr>
          <p:cNvSpPr txBox="1"/>
          <p:nvPr/>
        </p:nvSpPr>
        <p:spPr>
          <a:xfrm>
            <a:off x="2950351" y="3051079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Requirements</a:t>
            </a:r>
            <a:r>
              <a:rPr lang="de-DE" dirty="0"/>
              <a:t> Engineer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DDF68AF2-429C-4399-91A2-E810226C8F3C}"/>
              </a:ext>
            </a:extLst>
          </p:cNvPr>
          <p:cNvCxnSpPr>
            <a:cxnSpLocks/>
          </p:cNvCxnSpPr>
          <p:nvPr/>
        </p:nvCxnSpPr>
        <p:spPr>
          <a:xfrm>
            <a:off x="1070027" y="2449035"/>
            <a:ext cx="619014" cy="133631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606A4052-95B8-4A7A-A31A-05B336B183D1}"/>
              </a:ext>
            </a:extLst>
          </p:cNvPr>
          <p:cNvSpPr txBox="1"/>
          <p:nvPr/>
        </p:nvSpPr>
        <p:spPr>
          <a:xfrm>
            <a:off x="1553169" y="3885864"/>
            <a:ext cx="60896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ußball schauen, Studium (Software Engineering), gut Essen und Trinken</a:t>
            </a:r>
          </a:p>
        </p:txBody>
      </p:sp>
      <p:pic>
        <p:nvPicPr>
          <p:cNvPr id="25" name="Grafik 24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FE185ED2-1066-4684-AA29-29C09F9C39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90" t="34121" r="38329" b="38758"/>
          <a:stretch/>
        </p:blipFill>
        <p:spPr>
          <a:xfrm>
            <a:off x="102316" y="105080"/>
            <a:ext cx="2121740" cy="2160000"/>
          </a:xfrm>
          <a:prstGeom prst="ellipse">
            <a:avLst/>
          </a:prstGeom>
          <a:ln w="3175" cap="rnd">
            <a:solidFill>
              <a:schemeClr val="tx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6405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  <p:bldP spid="19" grpId="0"/>
      <p:bldP spid="21" grpId="0"/>
      <p:bldP spid="2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42E78F5F-F4F1-43B8-A2C5-2CCF439E9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191" y="312143"/>
            <a:ext cx="6025617" cy="451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22039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03062C-07A7-4BBE-B9CB-ABE2B65A4C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DB4AA9D-FC01-45BC-A6C6-9F00543AB48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81F2D58-1342-4215-8612-B9691294DB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917D125-6814-4369-B03D-188FD7CFB18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AT"/>
              <a:t>Quelle: Angabe der Quelle oder löschen</a:t>
            </a:r>
            <a:endParaRPr lang="de-AT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8603F9B-AA19-484C-B034-C09D9DDE5F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. Albrecht  I  Bereich Kundenserviceprodukte I  Mai 2017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666CCF6-668A-40C8-A851-9D066A5A5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173078B-BB6E-1F46-9B1D-61986BEC2CA1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9" name="IMG_5791">
            <a:hlinkClick r:id="" action="ppaction://media"/>
            <a:extLst>
              <a:ext uri="{FF2B5EF4-FFF2-40B4-BE49-F238E27FC236}">
                <a16:creationId xmlns:a16="http://schemas.microsoft.com/office/drawing/2014/main" id="{7608A9DA-1443-4EE3-A5E1-205E61AA82E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177235"/>
      </p:ext>
    </p:extLst>
  </p:cSld>
  <p:clrMapOvr>
    <a:masterClrMapping/>
  </p:clrMapOvr>
  <p:transition spd="slow" advClick="0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266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92D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DA79A35-BE66-478B-8B1F-B4DA6D668A4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91363" y="4911725"/>
            <a:ext cx="2052637" cy="122238"/>
          </a:xfrm>
          <a:prstGeom prst="rect">
            <a:avLst/>
          </a:prstGeom>
        </p:spPr>
        <p:txBody>
          <a:bodyPr/>
          <a:lstStyle/>
          <a:p>
            <a:fld id="{B173078B-BB6E-1F46-9B1D-61986BEC2CA1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9" name="Grafik 8" descr="Ein Bild, das Text, Monitor, Screenshot, Bildschirm enthält.&#10;&#10;Automatisch generierte Beschreibung">
            <a:extLst>
              <a:ext uri="{FF2B5EF4-FFF2-40B4-BE49-F238E27FC236}">
                <a16:creationId xmlns:a16="http://schemas.microsoft.com/office/drawing/2014/main" id="{82B86D78-6721-4A13-8A67-12860916CD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8948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92D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Text, Monitor, Screenshot, Bildschirm enthält.&#10;&#10;Automatisch generierte Beschreibung">
            <a:extLst>
              <a:ext uri="{FF2B5EF4-FFF2-40B4-BE49-F238E27FC236}">
                <a16:creationId xmlns:a16="http://schemas.microsoft.com/office/drawing/2014/main" id="{909D41F0-87C9-429A-BDA3-504C435AA56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82" t="46439" r="62785" b="14963"/>
          <a:stretch/>
        </p:blipFill>
        <p:spPr>
          <a:xfrm>
            <a:off x="1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5277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42E78F5F-F4F1-43B8-A2C5-2CCF439E90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191" y="312143"/>
            <a:ext cx="6025617" cy="451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73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>
            <a:extLst>
              <a:ext uri="{FF2B5EF4-FFF2-40B4-BE49-F238E27FC236}">
                <a16:creationId xmlns:a16="http://schemas.microsoft.com/office/drawing/2014/main" id="{AE34D1A4-AC86-4D40-A3C5-E039AAA7BE3B}"/>
              </a:ext>
            </a:extLst>
          </p:cNvPr>
          <p:cNvSpPr/>
          <p:nvPr/>
        </p:nvSpPr>
        <p:spPr>
          <a:xfrm>
            <a:off x="2792730" y="2141220"/>
            <a:ext cx="3558540" cy="86106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/>
              <a:t>Was ist uns wichtig?</a:t>
            </a:r>
            <a:endParaRPr lang="de-AT" sz="2000" dirty="0" err="1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4B095025-5ED3-4C03-B98E-35A594D37814}"/>
              </a:ext>
            </a:extLst>
          </p:cNvPr>
          <p:cNvCxnSpPr>
            <a:cxnSpLocks/>
          </p:cNvCxnSpPr>
          <p:nvPr/>
        </p:nvCxnSpPr>
        <p:spPr>
          <a:xfrm>
            <a:off x="2331720" y="1173480"/>
            <a:ext cx="777240" cy="110490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CB130930-4B8A-43AE-B79D-B05CB816ED01}"/>
              </a:ext>
            </a:extLst>
          </p:cNvPr>
          <p:cNvSpPr txBox="1"/>
          <p:nvPr/>
        </p:nvSpPr>
        <p:spPr>
          <a:xfrm>
            <a:off x="891541" y="695623"/>
            <a:ext cx="2476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Zusammenhalt</a:t>
            </a:r>
            <a:endParaRPr lang="de-AT" sz="24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9592D027-8156-43AE-B3F4-C52372259858}"/>
              </a:ext>
            </a:extLst>
          </p:cNvPr>
          <p:cNvCxnSpPr>
            <a:cxnSpLocks/>
          </p:cNvCxnSpPr>
          <p:nvPr/>
        </p:nvCxnSpPr>
        <p:spPr>
          <a:xfrm flipH="1">
            <a:off x="4764406" y="1051560"/>
            <a:ext cx="142874" cy="933925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2EE8033B-3829-4550-BD81-427104FE6289}"/>
              </a:ext>
            </a:extLst>
          </p:cNvPr>
          <p:cNvSpPr txBox="1"/>
          <p:nvPr/>
        </p:nvSpPr>
        <p:spPr>
          <a:xfrm>
            <a:off x="3821430" y="512027"/>
            <a:ext cx="2552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Verlässlichkeit</a:t>
            </a:r>
            <a:endParaRPr lang="de-AT" sz="2400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74E9014A-CCB3-4062-88B6-92F278A745BE}"/>
              </a:ext>
            </a:extLst>
          </p:cNvPr>
          <p:cNvCxnSpPr>
            <a:cxnSpLocks/>
          </p:cNvCxnSpPr>
          <p:nvPr/>
        </p:nvCxnSpPr>
        <p:spPr>
          <a:xfrm flipH="1">
            <a:off x="2167890" y="2971800"/>
            <a:ext cx="788670" cy="1176814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458C3ECF-7502-4897-A1F5-4BB3B0E1534E}"/>
              </a:ext>
            </a:extLst>
          </p:cNvPr>
          <p:cNvSpPr txBox="1"/>
          <p:nvPr/>
        </p:nvSpPr>
        <p:spPr>
          <a:xfrm>
            <a:off x="533400" y="4147662"/>
            <a:ext cx="2926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Spaß und Humor</a:t>
            </a:r>
            <a:endParaRPr lang="de-AT" sz="2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D877365-9A55-405A-9F49-A7A7231BBCF5}"/>
              </a:ext>
            </a:extLst>
          </p:cNvPr>
          <p:cNvCxnSpPr>
            <a:cxnSpLocks/>
          </p:cNvCxnSpPr>
          <p:nvPr/>
        </p:nvCxnSpPr>
        <p:spPr>
          <a:xfrm flipH="1">
            <a:off x="6374130" y="1615440"/>
            <a:ext cx="601980" cy="792954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6C068823-E737-49A7-87BF-F07F9EBB622B}"/>
              </a:ext>
            </a:extLst>
          </p:cNvPr>
          <p:cNvSpPr txBox="1"/>
          <p:nvPr/>
        </p:nvSpPr>
        <p:spPr>
          <a:xfrm>
            <a:off x="6374130" y="1095790"/>
            <a:ext cx="2552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Teamgeist</a:t>
            </a:r>
            <a:endParaRPr lang="de-AT" sz="2400" dirty="0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5B3EFEE-07DF-4ECE-90F5-2FCB52A47465}"/>
              </a:ext>
            </a:extLst>
          </p:cNvPr>
          <p:cNvCxnSpPr>
            <a:cxnSpLocks/>
          </p:cNvCxnSpPr>
          <p:nvPr/>
        </p:nvCxnSpPr>
        <p:spPr>
          <a:xfrm>
            <a:off x="5539739" y="3030617"/>
            <a:ext cx="777240" cy="110490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A950B893-A33C-4BCA-B1B7-FB31F681099A}"/>
              </a:ext>
            </a:extLst>
          </p:cNvPr>
          <p:cNvSpPr txBox="1"/>
          <p:nvPr/>
        </p:nvSpPr>
        <p:spPr>
          <a:xfrm>
            <a:off x="4591050" y="4094082"/>
            <a:ext cx="4431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Wertschätzender Umgang</a:t>
            </a:r>
            <a:endParaRPr lang="de-AT" sz="2400" dirty="0"/>
          </a:p>
        </p:txBody>
      </p:sp>
    </p:spTree>
    <p:extLst>
      <p:ext uri="{BB962C8B-B14F-4D97-AF65-F5344CB8AC3E}">
        <p14:creationId xmlns:p14="http://schemas.microsoft.com/office/powerpoint/2010/main" val="37483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/>
      <p:bldP spid="9" grpId="0"/>
      <p:bldP spid="13" grpId="0"/>
      <p:bldP spid="17" grpId="0"/>
      <p:bldP spid="1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>
            <a:extLst>
              <a:ext uri="{FF2B5EF4-FFF2-40B4-BE49-F238E27FC236}">
                <a16:creationId xmlns:a16="http://schemas.microsoft.com/office/drawing/2014/main" id="{AE34D1A4-AC86-4D40-A3C5-E039AAA7BE3B}"/>
              </a:ext>
            </a:extLst>
          </p:cNvPr>
          <p:cNvSpPr/>
          <p:nvPr/>
        </p:nvSpPr>
        <p:spPr>
          <a:xfrm>
            <a:off x="2792730" y="2141220"/>
            <a:ext cx="3558540" cy="861060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/>
              <a:t>Technologien</a:t>
            </a:r>
            <a:endParaRPr lang="de-AT" sz="2000" dirty="0" err="1"/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6CF148CA-2281-4A97-90A6-92256890C5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70" y="758190"/>
            <a:ext cx="1657350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SQL Server Express Backup Funktionen Editionsvergleiche">
            <a:extLst>
              <a:ext uri="{FF2B5EF4-FFF2-40B4-BE49-F238E27FC236}">
                <a16:creationId xmlns:a16="http://schemas.microsoft.com/office/drawing/2014/main" id="{5D6E8D1C-8B38-46C1-9CA1-447C999B8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2730" y="381000"/>
            <a:ext cx="3131820" cy="1149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 descr="Emails mit Node.js versenden - NETWAYS GmbH">
            <a:extLst>
              <a:ext uri="{FF2B5EF4-FFF2-40B4-BE49-F238E27FC236}">
                <a16:creationId xmlns:a16="http://schemas.microsoft.com/office/drawing/2014/main" id="{0F3DB274-FCFC-4415-9275-3ACF60F147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3202305"/>
            <a:ext cx="3088668" cy="105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8" name="Picture 12" descr="Getting started with Angular 5. Hi, are you a beginner in Web… | by Onejohi  | Medium">
            <a:extLst>
              <a:ext uri="{FF2B5EF4-FFF2-40B4-BE49-F238E27FC236}">
                <a16:creationId xmlns:a16="http://schemas.microsoft.com/office/drawing/2014/main" id="{EE8D4927-7110-4948-A5AC-08140EE4E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3394710"/>
            <a:ext cx="2735580" cy="1367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2" name="Picture 16" descr="Neil's Whiteboard">
            <a:extLst>
              <a:ext uri="{FF2B5EF4-FFF2-40B4-BE49-F238E27FC236}">
                <a16:creationId xmlns:a16="http://schemas.microsoft.com/office/drawing/2014/main" id="{58D0C022-481F-4B17-844D-1B1DB2E8A1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7450" y="1300516"/>
            <a:ext cx="2628900" cy="1051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7718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2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2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2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2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2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2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2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2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2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2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42EB74EF-2225-4F8F-A478-D42C905EDFAE}"/>
              </a:ext>
            </a:extLst>
          </p:cNvPr>
          <p:cNvSpPr txBox="1">
            <a:spLocks/>
          </p:cNvSpPr>
          <p:nvPr/>
        </p:nvSpPr>
        <p:spPr>
          <a:xfrm>
            <a:off x="2527218" y="377384"/>
            <a:ext cx="6479622" cy="2837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Arial" charset="0"/>
                <a:ea typeface="+mj-ea"/>
                <a:cs typeface="Century Gothic"/>
              </a:defRPr>
            </a:lvl1pPr>
          </a:lstStyle>
          <a:p>
            <a:pPr algn="ctr"/>
            <a:r>
              <a:rPr lang="de-DE" sz="2800" dirty="0"/>
              <a:t>Thomas „</a:t>
            </a:r>
            <a:r>
              <a:rPr lang="de-DE" sz="2800" dirty="0" err="1"/>
              <a:t>Klugsi</a:t>
            </a:r>
            <a:r>
              <a:rPr lang="de-DE" sz="2800" dirty="0"/>
              <a:t>“ </a:t>
            </a:r>
            <a:r>
              <a:rPr lang="de-DE" sz="2800" dirty="0" err="1"/>
              <a:t>Klugsberger</a:t>
            </a:r>
            <a:endParaRPr lang="de-AT" sz="2800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F201C9CC-FDD0-4460-B217-8D800EA19486}"/>
              </a:ext>
            </a:extLst>
          </p:cNvPr>
          <p:cNvCxnSpPr>
            <a:cxnSpLocks/>
          </p:cNvCxnSpPr>
          <p:nvPr/>
        </p:nvCxnSpPr>
        <p:spPr>
          <a:xfrm>
            <a:off x="2331720" y="1173480"/>
            <a:ext cx="2598420" cy="10668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4511C094-1531-4E4D-BB57-A68A3B9A4C98}"/>
              </a:ext>
            </a:extLst>
          </p:cNvPr>
          <p:cNvSpPr txBox="1"/>
          <p:nvPr/>
        </p:nvSpPr>
        <p:spPr>
          <a:xfrm>
            <a:off x="5074920" y="1095494"/>
            <a:ext cx="283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6 Jahre im Unternehmen</a:t>
            </a:r>
            <a:endParaRPr lang="de-AT" dirty="0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283E42F-8AE7-47B1-B936-479A3D17A771}"/>
              </a:ext>
            </a:extLst>
          </p:cNvPr>
          <p:cNvCxnSpPr>
            <a:cxnSpLocks/>
            <a:endCxn id="20" idx="1"/>
          </p:cNvCxnSpPr>
          <p:nvPr/>
        </p:nvCxnSpPr>
        <p:spPr>
          <a:xfrm>
            <a:off x="2269772" y="1664808"/>
            <a:ext cx="2104108" cy="689241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EE5DE1FF-4B8F-4CB5-87F9-3E6359A380C4}"/>
              </a:ext>
            </a:extLst>
          </p:cNvPr>
          <p:cNvSpPr txBox="1"/>
          <p:nvPr/>
        </p:nvSpPr>
        <p:spPr>
          <a:xfrm>
            <a:off x="4373880" y="2169383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geschätzt (zu Beginn): M</a:t>
            </a:r>
            <a:endParaRPr lang="de-AT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C811422-609F-4E42-98E9-C3981941E734}"/>
              </a:ext>
            </a:extLst>
          </p:cNvPr>
          <p:cNvSpPr txBox="1"/>
          <p:nvPr/>
        </p:nvSpPr>
        <p:spPr>
          <a:xfrm>
            <a:off x="4373880" y="2445527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aktuell: L</a:t>
            </a:r>
            <a:endParaRPr lang="de-AT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A3F7BE85-3458-44A2-904D-4C50E6D89E05}"/>
              </a:ext>
            </a:extLst>
          </p:cNvPr>
          <p:cNvCxnSpPr>
            <a:cxnSpLocks/>
          </p:cNvCxnSpPr>
          <p:nvPr/>
        </p:nvCxnSpPr>
        <p:spPr>
          <a:xfrm>
            <a:off x="2003072" y="2259135"/>
            <a:ext cx="892528" cy="85805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0A594A27-BB50-43C9-9F1C-88724902D5A1}"/>
              </a:ext>
            </a:extLst>
          </p:cNvPr>
          <p:cNvSpPr txBox="1"/>
          <p:nvPr/>
        </p:nvSpPr>
        <p:spPr>
          <a:xfrm>
            <a:off x="2950351" y="3051079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ntwickler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0C8CFAE5-E286-432D-AEC1-98A85BAE774F}"/>
              </a:ext>
            </a:extLst>
          </p:cNvPr>
          <p:cNvCxnSpPr>
            <a:cxnSpLocks/>
          </p:cNvCxnSpPr>
          <p:nvPr/>
        </p:nvCxnSpPr>
        <p:spPr>
          <a:xfrm>
            <a:off x="1070027" y="2449035"/>
            <a:ext cx="619014" cy="133631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F70B881-5940-4BEF-AF8D-EE1802968514}"/>
              </a:ext>
            </a:extLst>
          </p:cNvPr>
          <p:cNvSpPr txBox="1"/>
          <p:nvPr/>
        </p:nvSpPr>
        <p:spPr>
          <a:xfrm>
            <a:off x="1553169" y="3885864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ußball, Tennis, Laufen</a:t>
            </a:r>
          </a:p>
        </p:txBody>
      </p:sp>
      <p:pic>
        <p:nvPicPr>
          <p:cNvPr id="32" name="Grafik 31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111AECA4-5EB6-4DE4-B1CE-782FF2097F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1" t="1442" r="69962" b="68626"/>
          <a:stretch/>
        </p:blipFill>
        <p:spPr>
          <a:xfrm>
            <a:off x="83779" y="56309"/>
            <a:ext cx="2221471" cy="2160000"/>
          </a:xfrm>
          <a:prstGeom prst="flowChartConnector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0088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0" grpId="0"/>
      <p:bldP spid="21" grpId="0"/>
      <p:bldP spid="24" grpId="0"/>
      <p:bldP spid="2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42E78F5F-F4F1-43B8-A2C5-2CCF439E9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191" y="312143"/>
            <a:ext cx="6025617" cy="451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60008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>
            <a:extLst>
              <a:ext uri="{FF2B5EF4-FFF2-40B4-BE49-F238E27FC236}">
                <a16:creationId xmlns:a16="http://schemas.microsoft.com/office/drawing/2014/main" id="{E3F5F7DC-9DF6-4423-B6F2-E98644743603}"/>
              </a:ext>
            </a:extLst>
          </p:cNvPr>
          <p:cNvSpPr txBox="1">
            <a:spLocks/>
          </p:cNvSpPr>
          <p:nvPr/>
        </p:nvSpPr>
        <p:spPr>
          <a:xfrm>
            <a:off x="2527218" y="377384"/>
            <a:ext cx="6479622" cy="2837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Arial" charset="0"/>
                <a:ea typeface="+mj-ea"/>
                <a:cs typeface="Century Gothic"/>
              </a:defRPr>
            </a:lvl1pPr>
          </a:lstStyle>
          <a:p>
            <a:pPr algn="ctr"/>
            <a:r>
              <a:rPr lang="de-DE" sz="2800" dirty="0"/>
              <a:t>Andreas „Andi“ </a:t>
            </a:r>
            <a:r>
              <a:rPr lang="de-DE" sz="2800" dirty="0" err="1"/>
              <a:t>Altenhofer</a:t>
            </a:r>
            <a:endParaRPr lang="de-AT" sz="2800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AB33085C-B211-4303-9BBF-660FA385B357}"/>
              </a:ext>
            </a:extLst>
          </p:cNvPr>
          <p:cNvCxnSpPr>
            <a:cxnSpLocks/>
          </p:cNvCxnSpPr>
          <p:nvPr/>
        </p:nvCxnSpPr>
        <p:spPr>
          <a:xfrm>
            <a:off x="2331720" y="1173480"/>
            <a:ext cx="2598420" cy="10668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A35D49B6-5BFD-4D03-879E-E17477151275}"/>
              </a:ext>
            </a:extLst>
          </p:cNvPr>
          <p:cNvSpPr txBox="1"/>
          <p:nvPr/>
        </p:nvSpPr>
        <p:spPr>
          <a:xfrm>
            <a:off x="5074920" y="1095494"/>
            <a:ext cx="283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5 Jahre im Unternehmen</a:t>
            </a:r>
            <a:endParaRPr lang="de-AT" dirty="0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8488911-62EA-4402-B0EA-1176FE2AAC0F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2269772" y="1664808"/>
            <a:ext cx="2104108" cy="689241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92832696-DCF2-489E-930F-432EAAF06A8F}"/>
              </a:ext>
            </a:extLst>
          </p:cNvPr>
          <p:cNvSpPr txBox="1"/>
          <p:nvPr/>
        </p:nvSpPr>
        <p:spPr>
          <a:xfrm>
            <a:off x="4373880" y="2169383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geschätzt (zu Beginn): XL</a:t>
            </a:r>
            <a:endParaRPr lang="de-AT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BDEC26CF-55B5-4C3A-B4FA-485ECB9D5CFA}"/>
              </a:ext>
            </a:extLst>
          </p:cNvPr>
          <p:cNvSpPr txBox="1"/>
          <p:nvPr/>
        </p:nvSpPr>
        <p:spPr>
          <a:xfrm>
            <a:off x="4373880" y="2445527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aktuell: XX(X)L</a:t>
            </a:r>
            <a:endParaRPr lang="de-AT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CBF0F401-506E-43CA-A138-7A8A5E7FD1A1}"/>
              </a:ext>
            </a:extLst>
          </p:cNvPr>
          <p:cNvCxnSpPr>
            <a:cxnSpLocks/>
          </p:cNvCxnSpPr>
          <p:nvPr/>
        </p:nvCxnSpPr>
        <p:spPr>
          <a:xfrm>
            <a:off x="2003072" y="2259135"/>
            <a:ext cx="892528" cy="85805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A01E5803-9CED-43AE-A57A-47786AC8FD5F}"/>
              </a:ext>
            </a:extLst>
          </p:cNvPr>
          <p:cNvSpPr txBox="1"/>
          <p:nvPr/>
        </p:nvSpPr>
        <p:spPr>
          <a:xfrm>
            <a:off x="2950351" y="3051079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ntwickler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EA6C849-D910-4A63-BC88-A56DEB63909F}"/>
              </a:ext>
            </a:extLst>
          </p:cNvPr>
          <p:cNvCxnSpPr>
            <a:cxnSpLocks/>
          </p:cNvCxnSpPr>
          <p:nvPr/>
        </p:nvCxnSpPr>
        <p:spPr>
          <a:xfrm>
            <a:off x="1070027" y="2449035"/>
            <a:ext cx="619014" cy="133631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44203B50-2374-44E9-9813-7B31F664E2B6}"/>
              </a:ext>
            </a:extLst>
          </p:cNvPr>
          <p:cNvSpPr txBox="1"/>
          <p:nvPr/>
        </p:nvSpPr>
        <p:spPr>
          <a:xfrm>
            <a:off x="1553168" y="3885864"/>
            <a:ext cx="54877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lasmusik (Tuba), Grillen, gut Essen und Trinken</a:t>
            </a:r>
          </a:p>
        </p:txBody>
      </p:sp>
      <p:pic>
        <p:nvPicPr>
          <p:cNvPr id="25" name="Grafik 24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38FF2530-14A6-40CF-B0DC-832CA5C28B7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96" t="3897" r="49317" b="66171"/>
          <a:stretch/>
        </p:blipFill>
        <p:spPr>
          <a:xfrm>
            <a:off x="55498" y="93480"/>
            <a:ext cx="2221471" cy="2160000"/>
          </a:xfrm>
          <a:prstGeom prst="flowChartConnector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93858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9" grpId="0"/>
      <p:bldP spid="20" grpId="0"/>
      <p:bldP spid="22" grpId="0"/>
      <p:bldP spid="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42E78F5F-F4F1-43B8-A2C5-2CCF439E9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191" y="312143"/>
            <a:ext cx="6025617" cy="451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74744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DC423A3F-DF3A-42E6-87A1-9171A2E6D3DB}"/>
              </a:ext>
            </a:extLst>
          </p:cNvPr>
          <p:cNvSpPr txBox="1">
            <a:spLocks/>
          </p:cNvSpPr>
          <p:nvPr/>
        </p:nvSpPr>
        <p:spPr>
          <a:xfrm>
            <a:off x="2527218" y="377384"/>
            <a:ext cx="6479622" cy="2837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Arial" charset="0"/>
                <a:ea typeface="+mj-ea"/>
                <a:cs typeface="Century Gothic"/>
              </a:defRPr>
            </a:lvl1pPr>
          </a:lstStyle>
          <a:p>
            <a:pPr algn="ctr"/>
            <a:r>
              <a:rPr lang="de-DE" sz="2800" dirty="0"/>
              <a:t>Harald „Harry“ </a:t>
            </a:r>
            <a:r>
              <a:rPr lang="de-DE" sz="2800" dirty="0" err="1"/>
              <a:t>Guttner</a:t>
            </a:r>
            <a:endParaRPr lang="de-AT" sz="28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A4CB8FB-7833-4848-830F-187EAC7BCF7B}"/>
              </a:ext>
            </a:extLst>
          </p:cNvPr>
          <p:cNvCxnSpPr>
            <a:cxnSpLocks/>
          </p:cNvCxnSpPr>
          <p:nvPr/>
        </p:nvCxnSpPr>
        <p:spPr>
          <a:xfrm>
            <a:off x="2331720" y="1173480"/>
            <a:ext cx="2598420" cy="10668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627BA6A-A829-4EEF-B88F-FC5ABCF03A2C}"/>
              </a:ext>
            </a:extLst>
          </p:cNvPr>
          <p:cNvSpPr txBox="1"/>
          <p:nvPr/>
        </p:nvSpPr>
        <p:spPr>
          <a:xfrm>
            <a:off x="5074920" y="1095494"/>
            <a:ext cx="283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9 Jahre im Unternehmen</a:t>
            </a:r>
            <a:endParaRPr lang="de-AT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4AFB191-89E9-4459-A601-989C66466B7A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2269772" y="1664808"/>
            <a:ext cx="2104108" cy="689241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B1BCBA56-702B-4CCC-8BB1-97C0ECB705B3}"/>
              </a:ext>
            </a:extLst>
          </p:cNvPr>
          <p:cNvSpPr txBox="1"/>
          <p:nvPr/>
        </p:nvSpPr>
        <p:spPr>
          <a:xfrm>
            <a:off x="4373880" y="2169383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geschätzt (zu Beginn): L</a:t>
            </a:r>
            <a:endParaRPr lang="de-AT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8155063-8850-437A-88DF-3F36811DC8D4}"/>
              </a:ext>
            </a:extLst>
          </p:cNvPr>
          <p:cNvSpPr txBox="1"/>
          <p:nvPr/>
        </p:nvSpPr>
        <p:spPr>
          <a:xfrm>
            <a:off x="4373880" y="2445527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aktuell: XL</a:t>
            </a:r>
            <a:endParaRPr lang="de-AT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58EB2517-C0A4-4367-B254-4EA6554149D5}"/>
              </a:ext>
            </a:extLst>
          </p:cNvPr>
          <p:cNvCxnSpPr>
            <a:cxnSpLocks/>
          </p:cNvCxnSpPr>
          <p:nvPr/>
        </p:nvCxnSpPr>
        <p:spPr>
          <a:xfrm>
            <a:off x="2003072" y="2259135"/>
            <a:ext cx="892528" cy="85805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74BFB3F-4D76-45EC-937F-EA0DD554FCE7}"/>
              </a:ext>
            </a:extLst>
          </p:cNvPr>
          <p:cNvSpPr txBox="1"/>
          <p:nvPr/>
        </p:nvSpPr>
        <p:spPr>
          <a:xfrm>
            <a:off x="2950351" y="3051079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ntwickler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AB0E66A-F70E-4922-957E-52E148AB3BAE}"/>
              </a:ext>
            </a:extLst>
          </p:cNvPr>
          <p:cNvCxnSpPr>
            <a:cxnSpLocks/>
          </p:cNvCxnSpPr>
          <p:nvPr/>
        </p:nvCxnSpPr>
        <p:spPr>
          <a:xfrm>
            <a:off x="1070027" y="2449035"/>
            <a:ext cx="619014" cy="133631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DCFDE39E-EE10-47C2-85AC-A11900D75DB2}"/>
              </a:ext>
            </a:extLst>
          </p:cNvPr>
          <p:cNvSpPr txBox="1"/>
          <p:nvPr/>
        </p:nvSpPr>
        <p:spPr>
          <a:xfrm>
            <a:off x="1553169" y="3885864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ennis, Laufen, Grillen</a:t>
            </a:r>
          </a:p>
        </p:txBody>
      </p:sp>
      <p:pic>
        <p:nvPicPr>
          <p:cNvPr id="24" name="Grafik 23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4A4D69B5-15E4-42AF-8BB1-A5E7B20BA1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19" r="28794" b="70068"/>
          <a:stretch/>
        </p:blipFill>
        <p:spPr>
          <a:xfrm>
            <a:off x="55498" y="93480"/>
            <a:ext cx="2221471" cy="2160000"/>
          </a:xfrm>
          <a:prstGeom prst="flowChartConnector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7537290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  <p:bldP spid="19" grpId="0"/>
      <p:bldP spid="21" grpId="0"/>
      <p:bldP spid="2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42E78F5F-F4F1-43B8-A2C5-2CCF439E9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191" y="312143"/>
            <a:ext cx="6025617" cy="451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87349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Person, Mann, Personen, Gruppe enthält.&#10;&#10;Automatisch generierte Beschreibung">
            <a:extLst>
              <a:ext uri="{FF2B5EF4-FFF2-40B4-BE49-F238E27FC236}">
                <a16:creationId xmlns:a16="http://schemas.microsoft.com/office/drawing/2014/main" id="{015A6C11-4492-4C67-8B03-515B06317FD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08" t="4721" r="14211" b="68158"/>
          <a:stretch/>
        </p:blipFill>
        <p:spPr>
          <a:xfrm>
            <a:off x="102316" y="105080"/>
            <a:ext cx="2121740" cy="2160000"/>
          </a:xfrm>
          <a:prstGeom prst="ellipse">
            <a:avLst/>
          </a:prstGeom>
          <a:ln w="3175" cap="rnd">
            <a:solidFill>
              <a:schemeClr val="tx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C7930060-E78F-4C6B-BD08-410E80969F27}"/>
              </a:ext>
            </a:extLst>
          </p:cNvPr>
          <p:cNvSpPr txBox="1">
            <a:spLocks/>
          </p:cNvSpPr>
          <p:nvPr/>
        </p:nvSpPr>
        <p:spPr>
          <a:xfrm>
            <a:off x="2527218" y="377384"/>
            <a:ext cx="6479622" cy="2837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189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Arial" charset="0"/>
                <a:ea typeface="+mj-ea"/>
                <a:cs typeface="Century Gothic"/>
              </a:defRPr>
            </a:lvl1pPr>
          </a:lstStyle>
          <a:p>
            <a:pPr algn="ctr"/>
            <a:r>
              <a:rPr lang="de-DE" sz="2800" dirty="0"/>
              <a:t>Christian „</a:t>
            </a:r>
            <a:r>
              <a:rPr lang="de-DE" sz="2800" dirty="0" err="1"/>
              <a:t>Chrispi</a:t>
            </a:r>
            <a:r>
              <a:rPr lang="de-DE" sz="2800" dirty="0"/>
              <a:t>“ </a:t>
            </a:r>
            <a:r>
              <a:rPr lang="de-DE" sz="2800" dirty="0" err="1"/>
              <a:t>Perfahl</a:t>
            </a:r>
            <a:endParaRPr lang="de-AT" sz="28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967795DA-8703-423B-BDDC-C41206D59E71}"/>
              </a:ext>
            </a:extLst>
          </p:cNvPr>
          <p:cNvCxnSpPr>
            <a:cxnSpLocks/>
          </p:cNvCxnSpPr>
          <p:nvPr/>
        </p:nvCxnSpPr>
        <p:spPr>
          <a:xfrm>
            <a:off x="2331720" y="1173480"/>
            <a:ext cx="2598420" cy="10668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6D5B164-34A1-4941-8B17-85F7598EA03E}"/>
              </a:ext>
            </a:extLst>
          </p:cNvPr>
          <p:cNvSpPr txBox="1"/>
          <p:nvPr/>
        </p:nvSpPr>
        <p:spPr>
          <a:xfrm>
            <a:off x="5074920" y="1095494"/>
            <a:ext cx="283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7 Jahre im Unternehmen</a:t>
            </a:r>
            <a:endParaRPr lang="de-AT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22AFA2FF-F392-47A3-8BCF-4E0228F3CA6A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2269772" y="1664808"/>
            <a:ext cx="2104108" cy="689241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4836F4D0-1A91-40E9-9D02-220B0B74D61A}"/>
              </a:ext>
            </a:extLst>
          </p:cNvPr>
          <p:cNvSpPr txBox="1"/>
          <p:nvPr/>
        </p:nvSpPr>
        <p:spPr>
          <a:xfrm>
            <a:off x="4373880" y="2169383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geschätzt (zu Beginn): L</a:t>
            </a:r>
            <a:endParaRPr lang="de-AT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419BFC4-BBC1-41CD-AB1A-4819BDBC52BE}"/>
              </a:ext>
            </a:extLst>
          </p:cNvPr>
          <p:cNvSpPr txBox="1"/>
          <p:nvPr/>
        </p:nvSpPr>
        <p:spPr>
          <a:xfrm>
            <a:off x="4373880" y="2445527"/>
            <a:ext cx="463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-Shirt-Size aktuell: XL</a:t>
            </a:r>
            <a:endParaRPr lang="de-AT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FED1473-14C4-4FD5-9528-40C06F58DC9C}"/>
              </a:ext>
            </a:extLst>
          </p:cNvPr>
          <p:cNvCxnSpPr>
            <a:cxnSpLocks/>
          </p:cNvCxnSpPr>
          <p:nvPr/>
        </p:nvCxnSpPr>
        <p:spPr>
          <a:xfrm>
            <a:off x="2003072" y="2259135"/>
            <a:ext cx="892528" cy="85805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684FFB5D-B7A9-4810-B19E-7BE767739E7B}"/>
              </a:ext>
            </a:extLst>
          </p:cNvPr>
          <p:cNvSpPr txBox="1"/>
          <p:nvPr/>
        </p:nvSpPr>
        <p:spPr>
          <a:xfrm>
            <a:off x="2950351" y="3051079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ntwickler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4E9D740-7F02-4D06-BF08-02448D0B2779}"/>
              </a:ext>
            </a:extLst>
          </p:cNvPr>
          <p:cNvCxnSpPr>
            <a:cxnSpLocks/>
          </p:cNvCxnSpPr>
          <p:nvPr/>
        </p:nvCxnSpPr>
        <p:spPr>
          <a:xfrm>
            <a:off x="1070027" y="2449035"/>
            <a:ext cx="619014" cy="1336319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0A838FD5-491C-4516-A4F0-AC4F098FF40D}"/>
              </a:ext>
            </a:extLst>
          </p:cNvPr>
          <p:cNvSpPr txBox="1"/>
          <p:nvPr/>
        </p:nvSpPr>
        <p:spPr>
          <a:xfrm>
            <a:off x="1553169" y="3885864"/>
            <a:ext cx="4213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schen, Wandern, Schi fahren</a:t>
            </a:r>
          </a:p>
        </p:txBody>
      </p:sp>
    </p:spTree>
    <p:extLst>
      <p:ext uri="{BB962C8B-B14F-4D97-AF65-F5344CB8AC3E}">
        <p14:creationId xmlns:p14="http://schemas.microsoft.com/office/powerpoint/2010/main" val="446679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  <p:bldP spid="19" grpId="0"/>
      <p:bldP spid="21" grpId="0"/>
      <p:bldP spid="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SG_PPT-Vorlage_Erweitert">
  <a:themeElements>
    <a:clrScheme name="RSG NEU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179"/>
      </a:accent1>
      <a:accent2>
        <a:srgbClr val="A51647"/>
      </a:accent2>
      <a:accent3>
        <a:srgbClr val="CA9C44"/>
      </a:accent3>
      <a:accent4>
        <a:srgbClr val="EB6927"/>
      </a:accent4>
      <a:accent5>
        <a:srgbClr val="598549"/>
      </a:accent5>
      <a:accent6>
        <a:srgbClr val="B8A88B"/>
      </a:accent6>
      <a:hlink>
        <a:srgbClr val="939393"/>
      </a:hlink>
      <a:folHlink>
        <a:srgbClr val="DCDCD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tlCol="0" anchor="ctr"/>
      <a:lstStyle>
        <a:defPPr algn="ctr">
          <a:defRPr sz="900"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12700"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NTENTFOLIEN">
  <a:themeElements>
    <a:clrScheme name="RaikaIT_Farb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179"/>
      </a:accent1>
      <a:accent2>
        <a:srgbClr val="A51647"/>
      </a:accent2>
      <a:accent3>
        <a:srgbClr val="CA9C44"/>
      </a:accent3>
      <a:accent4>
        <a:srgbClr val="EB6927"/>
      </a:accent4>
      <a:accent5>
        <a:srgbClr val="598549"/>
      </a:accent5>
      <a:accent6>
        <a:srgbClr val="B8A88B"/>
      </a:accent6>
      <a:hlink>
        <a:srgbClr val="939393"/>
      </a:hlink>
      <a:folHlink>
        <a:srgbClr val="DCDCD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900" smtClean="0">
            <a:solidFill>
              <a:schemeClr val="tx1"/>
            </a:solidFill>
            <a:latin typeface="Arial" charset="0"/>
            <a:ea typeface="Arial" charset="0"/>
            <a:cs typeface="Arial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accent5"/>
        </a:solidFill>
      </a:spPr>
      <a:bodyPr wrap="square" rtlCol="0" anchor="ctr" anchorCtr="0">
        <a:spAutoFit/>
      </a:bodyPr>
      <a:lstStyle>
        <a:defPPr algn="ctr">
          <a:defRPr sz="1100" b="1" smtClean="0">
            <a:solidFill>
              <a:schemeClr val="bg1"/>
            </a:solidFill>
            <a:latin typeface="Arial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SG NEU">
    <a:dk1>
      <a:srgbClr val="000000"/>
    </a:dk1>
    <a:lt1>
      <a:srgbClr val="FFFFFF"/>
    </a:lt1>
    <a:dk2>
      <a:srgbClr val="000000"/>
    </a:dk2>
    <a:lt2>
      <a:srgbClr val="FFFFFF"/>
    </a:lt2>
    <a:accent1>
      <a:srgbClr val="007179"/>
    </a:accent1>
    <a:accent2>
      <a:srgbClr val="A51647"/>
    </a:accent2>
    <a:accent3>
      <a:srgbClr val="CA9C44"/>
    </a:accent3>
    <a:accent4>
      <a:srgbClr val="EB6927"/>
    </a:accent4>
    <a:accent5>
      <a:srgbClr val="598549"/>
    </a:accent5>
    <a:accent6>
      <a:srgbClr val="B8A88B"/>
    </a:accent6>
    <a:hlink>
      <a:srgbClr val="939393"/>
    </a:hlink>
    <a:folHlink>
      <a:srgbClr val="DCDCDC"/>
    </a:folHlink>
  </a:clrScheme>
</a:themeOverride>
</file>

<file path=ppt/theme/themeOverride2.xml><?xml version="1.0" encoding="utf-8"?>
<a:themeOverride xmlns:a="http://schemas.openxmlformats.org/drawingml/2006/main">
  <a:clrScheme name="RSG NEU">
    <a:dk1>
      <a:srgbClr val="000000"/>
    </a:dk1>
    <a:lt1>
      <a:srgbClr val="FFFFFF"/>
    </a:lt1>
    <a:dk2>
      <a:srgbClr val="000000"/>
    </a:dk2>
    <a:lt2>
      <a:srgbClr val="FFFFFF"/>
    </a:lt2>
    <a:accent1>
      <a:srgbClr val="007179"/>
    </a:accent1>
    <a:accent2>
      <a:srgbClr val="A51647"/>
    </a:accent2>
    <a:accent3>
      <a:srgbClr val="CA9C44"/>
    </a:accent3>
    <a:accent4>
      <a:srgbClr val="EB6927"/>
    </a:accent4>
    <a:accent5>
      <a:srgbClr val="598549"/>
    </a:accent5>
    <a:accent6>
      <a:srgbClr val="B8A88B"/>
    </a:accent6>
    <a:hlink>
      <a:srgbClr val="939393"/>
    </a:hlink>
    <a:folHlink>
      <a:srgbClr val="DCDCDC"/>
    </a:folHlink>
  </a:clrScheme>
</a:themeOverride>
</file>

<file path=ppt/theme/themeOverride3.xml><?xml version="1.0" encoding="utf-8"?>
<a:themeOverride xmlns:a="http://schemas.openxmlformats.org/drawingml/2006/main">
  <a:clrScheme name="RSG NEU">
    <a:dk1>
      <a:srgbClr val="000000"/>
    </a:dk1>
    <a:lt1>
      <a:srgbClr val="FFFFFF"/>
    </a:lt1>
    <a:dk2>
      <a:srgbClr val="000000"/>
    </a:dk2>
    <a:lt2>
      <a:srgbClr val="FFFFFF"/>
    </a:lt2>
    <a:accent1>
      <a:srgbClr val="007179"/>
    </a:accent1>
    <a:accent2>
      <a:srgbClr val="A51647"/>
    </a:accent2>
    <a:accent3>
      <a:srgbClr val="CA9C44"/>
    </a:accent3>
    <a:accent4>
      <a:srgbClr val="EB6927"/>
    </a:accent4>
    <a:accent5>
      <a:srgbClr val="598549"/>
    </a:accent5>
    <a:accent6>
      <a:srgbClr val="B8A88B"/>
    </a:accent6>
    <a:hlink>
      <a:srgbClr val="939393"/>
    </a:hlink>
    <a:folHlink>
      <a:srgbClr val="DCDCDC"/>
    </a:folHlink>
  </a:clrScheme>
</a:themeOverride>
</file>

<file path=ppt/theme/themeOverride4.xml><?xml version="1.0" encoding="utf-8"?>
<a:themeOverride xmlns:a="http://schemas.openxmlformats.org/drawingml/2006/main">
  <a:clrScheme name="RSG NEU">
    <a:dk1>
      <a:srgbClr val="000000"/>
    </a:dk1>
    <a:lt1>
      <a:srgbClr val="FFFFFF"/>
    </a:lt1>
    <a:dk2>
      <a:srgbClr val="000000"/>
    </a:dk2>
    <a:lt2>
      <a:srgbClr val="FFFFFF"/>
    </a:lt2>
    <a:accent1>
      <a:srgbClr val="007179"/>
    </a:accent1>
    <a:accent2>
      <a:srgbClr val="A51647"/>
    </a:accent2>
    <a:accent3>
      <a:srgbClr val="CA9C44"/>
    </a:accent3>
    <a:accent4>
      <a:srgbClr val="EB6927"/>
    </a:accent4>
    <a:accent5>
      <a:srgbClr val="598549"/>
    </a:accent5>
    <a:accent6>
      <a:srgbClr val="B8A88B"/>
    </a:accent6>
    <a:hlink>
      <a:srgbClr val="939393"/>
    </a:hlink>
    <a:folHlink>
      <a:srgbClr val="DCDCDC"/>
    </a:folHlink>
  </a:clrScheme>
</a:themeOverride>
</file>

<file path=ppt/theme/themeOverride5.xml><?xml version="1.0" encoding="utf-8"?>
<a:themeOverride xmlns:a="http://schemas.openxmlformats.org/drawingml/2006/main">
  <a:clrScheme name="RSG NEU">
    <a:dk1>
      <a:srgbClr val="000000"/>
    </a:dk1>
    <a:lt1>
      <a:srgbClr val="FFFFFF"/>
    </a:lt1>
    <a:dk2>
      <a:srgbClr val="000000"/>
    </a:dk2>
    <a:lt2>
      <a:srgbClr val="FFFFFF"/>
    </a:lt2>
    <a:accent1>
      <a:srgbClr val="007179"/>
    </a:accent1>
    <a:accent2>
      <a:srgbClr val="A51647"/>
    </a:accent2>
    <a:accent3>
      <a:srgbClr val="CA9C44"/>
    </a:accent3>
    <a:accent4>
      <a:srgbClr val="EB6927"/>
    </a:accent4>
    <a:accent5>
      <a:srgbClr val="598549"/>
    </a:accent5>
    <a:accent6>
      <a:srgbClr val="B8A88B"/>
    </a:accent6>
    <a:hlink>
      <a:srgbClr val="939393"/>
    </a:hlink>
    <a:folHlink>
      <a:srgbClr val="DCDCDC"/>
    </a:folHlink>
  </a:clrScheme>
</a:themeOverride>
</file>

<file path=ppt/theme/themeOverride6.xml><?xml version="1.0" encoding="utf-8"?>
<a:themeOverride xmlns:a="http://schemas.openxmlformats.org/drawingml/2006/main">
  <a:clrScheme name="RSG NEU">
    <a:dk1>
      <a:srgbClr val="000000"/>
    </a:dk1>
    <a:lt1>
      <a:srgbClr val="FFFFFF"/>
    </a:lt1>
    <a:dk2>
      <a:srgbClr val="000000"/>
    </a:dk2>
    <a:lt2>
      <a:srgbClr val="FFFFFF"/>
    </a:lt2>
    <a:accent1>
      <a:srgbClr val="007179"/>
    </a:accent1>
    <a:accent2>
      <a:srgbClr val="A51647"/>
    </a:accent2>
    <a:accent3>
      <a:srgbClr val="CA9C44"/>
    </a:accent3>
    <a:accent4>
      <a:srgbClr val="EB6927"/>
    </a:accent4>
    <a:accent5>
      <a:srgbClr val="598549"/>
    </a:accent5>
    <a:accent6>
      <a:srgbClr val="B8A88B"/>
    </a:accent6>
    <a:hlink>
      <a:srgbClr val="939393"/>
    </a:hlink>
    <a:folHlink>
      <a:srgbClr val="DCDCDC"/>
    </a:folHlink>
  </a:clrScheme>
</a:themeOverride>
</file>

<file path=ppt/theme/themeOverride7.xml><?xml version="1.0" encoding="utf-8"?>
<a:themeOverride xmlns:a="http://schemas.openxmlformats.org/drawingml/2006/main">
  <a:clrScheme name="RSG NEU">
    <a:dk1>
      <a:srgbClr val="000000"/>
    </a:dk1>
    <a:lt1>
      <a:srgbClr val="FFFFFF"/>
    </a:lt1>
    <a:dk2>
      <a:srgbClr val="000000"/>
    </a:dk2>
    <a:lt2>
      <a:srgbClr val="FFFFFF"/>
    </a:lt2>
    <a:accent1>
      <a:srgbClr val="007179"/>
    </a:accent1>
    <a:accent2>
      <a:srgbClr val="A51647"/>
    </a:accent2>
    <a:accent3>
      <a:srgbClr val="CA9C44"/>
    </a:accent3>
    <a:accent4>
      <a:srgbClr val="EB6927"/>
    </a:accent4>
    <a:accent5>
      <a:srgbClr val="598549"/>
    </a:accent5>
    <a:accent6>
      <a:srgbClr val="B8A88B"/>
    </a:accent6>
    <a:hlink>
      <a:srgbClr val="939393"/>
    </a:hlink>
    <a:folHlink>
      <a:srgbClr val="DCDCDC"/>
    </a:folHlink>
  </a:clrScheme>
</a:themeOverride>
</file>

<file path=ppt/theme/themeOverride8.xml><?xml version="1.0" encoding="utf-8"?>
<a:themeOverride xmlns:a="http://schemas.openxmlformats.org/drawingml/2006/main">
  <a:clrScheme name="RSG NEU">
    <a:dk1>
      <a:srgbClr val="000000"/>
    </a:dk1>
    <a:lt1>
      <a:srgbClr val="FFFFFF"/>
    </a:lt1>
    <a:dk2>
      <a:srgbClr val="000000"/>
    </a:dk2>
    <a:lt2>
      <a:srgbClr val="FFFFFF"/>
    </a:lt2>
    <a:accent1>
      <a:srgbClr val="007179"/>
    </a:accent1>
    <a:accent2>
      <a:srgbClr val="A51647"/>
    </a:accent2>
    <a:accent3>
      <a:srgbClr val="CA9C44"/>
    </a:accent3>
    <a:accent4>
      <a:srgbClr val="EB6927"/>
    </a:accent4>
    <a:accent5>
      <a:srgbClr val="598549"/>
    </a:accent5>
    <a:accent6>
      <a:srgbClr val="B8A88B"/>
    </a:accent6>
    <a:hlink>
      <a:srgbClr val="939393"/>
    </a:hlink>
    <a:folHlink>
      <a:srgbClr val="DCDCD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SG_PPT-Vorlage_Erweitert</Template>
  <TotalTime>0</TotalTime>
  <Words>227</Words>
  <Application>Microsoft Office PowerPoint</Application>
  <PresentationFormat>Bildschirmpräsentation (16:9)</PresentationFormat>
  <Paragraphs>54</Paragraphs>
  <Slides>21</Slides>
  <Notes>0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8" baseType="lpstr">
      <vt:lpstr>Arial</vt:lpstr>
      <vt:lpstr>Calibri</vt:lpstr>
      <vt:lpstr>Times New Roman Fett</vt:lpstr>
      <vt:lpstr>Wingdings</vt:lpstr>
      <vt:lpstr>RSG_PPT-Vorlage_Erweitert</vt:lpstr>
      <vt:lpstr>CONTENTFOLIE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GRZ IT Center Linz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tionsnachmittag</dc:title>
  <dc:creator>Stefan GREINER</dc:creator>
  <cp:lastModifiedBy>Schauer Patrick - S1910307037</cp:lastModifiedBy>
  <cp:revision>46</cp:revision>
  <cp:lastPrinted>2017-02-22T10:46:02Z</cp:lastPrinted>
  <dcterms:created xsi:type="dcterms:W3CDTF">2019-03-07T10:37:58Z</dcterms:created>
  <dcterms:modified xsi:type="dcterms:W3CDTF">2022-04-27T22:20:15Z</dcterms:modified>
</cp:coreProperties>
</file>